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tags/tag22.xml" ContentType="application/vnd.openxmlformats-officedocument.presentationml.tags+xml"/>
  <Override PartName="/ppt/notesSlides/notesSlide18.xml" ContentType="application/vnd.openxmlformats-officedocument.presentationml.notesSlide+xml"/>
  <Override PartName="/ppt/tags/tag23.xml" ContentType="application/vnd.openxmlformats-officedocument.presentationml.tags+xml"/>
  <Override PartName="/ppt/notesSlides/notesSlide19.xml" ContentType="application/vnd.openxmlformats-officedocument.presentationml.notesSlide+xml"/>
  <Override PartName="/ppt/tags/tag24.xml" ContentType="application/vnd.openxmlformats-officedocument.presentationml.tags+xml"/>
  <Override PartName="/ppt/notesSlides/notesSlide20.xml" ContentType="application/vnd.openxmlformats-officedocument.presentationml.notesSlide+xml"/>
  <Override PartName="/ppt/tags/tag25.xml" ContentType="application/vnd.openxmlformats-officedocument.presentationml.tags+xml"/>
  <Override PartName="/ppt/notesSlides/notesSlide21.xml" ContentType="application/vnd.openxmlformats-officedocument.presentationml.notesSlide+xml"/>
  <Override PartName="/ppt/tags/tag26.xml" ContentType="application/vnd.openxmlformats-officedocument.presentationml.tags+xml"/>
  <Override PartName="/ppt/notesSlides/notesSlide22.xml" ContentType="application/vnd.openxmlformats-officedocument.presentationml.notesSlide+xml"/>
  <Override PartName="/ppt/tags/tag27.xml" ContentType="application/vnd.openxmlformats-officedocument.presentationml.tags+xml"/>
  <Override PartName="/ppt/notesSlides/notesSlide23.xml" ContentType="application/vnd.openxmlformats-officedocument.presentationml.notesSlide+xml"/>
  <Override PartName="/ppt/tags/tag28.xml" ContentType="application/vnd.openxmlformats-officedocument.presentationml.tags+xml"/>
  <Override PartName="/ppt/notesSlides/notesSlide24.xml" ContentType="application/vnd.openxmlformats-officedocument.presentationml.notesSlide+xml"/>
  <Override PartName="/ppt/tags/tag29.xml" ContentType="application/vnd.openxmlformats-officedocument.presentationml.tags+xml"/>
  <Override PartName="/ppt/notesSlides/notesSlide25.xml" ContentType="application/vnd.openxmlformats-officedocument.presentationml.notesSlide+xml"/>
  <Override PartName="/ppt/tags/tag30.xml" ContentType="application/vnd.openxmlformats-officedocument.presentationml.tags+xml"/>
  <Override PartName="/ppt/notesSlides/notesSlide26.xml" ContentType="application/vnd.openxmlformats-officedocument.presentationml.notesSlide+xml"/>
  <Override PartName="/ppt/tags/tag31.xml" ContentType="application/vnd.openxmlformats-officedocument.presentationml.tags+xml"/>
  <Override PartName="/ppt/notesSlides/notesSlide2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3"/>
  </p:notesMasterIdLst>
  <p:handoutMasterIdLst>
    <p:handoutMasterId r:id="rId34"/>
  </p:handoutMasterIdLst>
  <p:sldIdLst>
    <p:sldId id="660" r:id="rId2"/>
    <p:sldId id="669" r:id="rId3"/>
    <p:sldId id="631" r:id="rId4"/>
    <p:sldId id="696" r:id="rId5"/>
    <p:sldId id="699" r:id="rId6"/>
    <p:sldId id="698" r:id="rId7"/>
    <p:sldId id="700" r:id="rId8"/>
    <p:sldId id="702" r:id="rId9"/>
    <p:sldId id="704" r:id="rId10"/>
    <p:sldId id="705" r:id="rId11"/>
    <p:sldId id="707" r:id="rId12"/>
    <p:sldId id="727" r:id="rId13"/>
    <p:sldId id="703" r:id="rId14"/>
    <p:sldId id="708" r:id="rId15"/>
    <p:sldId id="709" r:id="rId16"/>
    <p:sldId id="710" r:id="rId17"/>
    <p:sldId id="711" r:id="rId18"/>
    <p:sldId id="712" r:id="rId19"/>
    <p:sldId id="716" r:id="rId20"/>
    <p:sldId id="697" r:id="rId21"/>
    <p:sldId id="717" r:id="rId22"/>
    <p:sldId id="718" r:id="rId23"/>
    <p:sldId id="719" r:id="rId24"/>
    <p:sldId id="715" r:id="rId25"/>
    <p:sldId id="723" r:id="rId26"/>
    <p:sldId id="724" r:id="rId27"/>
    <p:sldId id="725" r:id="rId28"/>
    <p:sldId id="722" r:id="rId29"/>
    <p:sldId id="721" r:id="rId30"/>
    <p:sldId id="726" r:id="rId31"/>
    <p:sldId id="714" r:id="rId32"/>
  </p:sldIdLst>
  <p:sldSz cx="12192000" cy="6858000"/>
  <p:notesSz cx="6805613" cy="9944100"/>
  <p:custDataLst>
    <p:tags r:id="rId3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90" userDrawn="1">
          <p15:clr>
            <a:srgbClr val="A4A3A4"/>
          </p15:clr>
        </p15:guide>
        <p15:guide id="3" pos="347" userDrawn="1">
          <p15:clr>
            <a:srgbClr val="A4A3A4"/>
          </p15:clr>
        </p15:guide>
        <p15:guide id="5" pos="7650" userDrawn="1">
          <p15:clr>
            <a:srgbClr val="A4A3A4"/>
          </p15:clr>
        </p15:guide>
        <p15:guide id="6" orient="horz" pos="1200" userDrawn="1">
          <p15:clr>
            <a:srgbClr val="A4A3A4"/>
          </p15:clr>
        </p15:guide>
        <p15:guide id="7" pos="6924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F5597"/>
    <a:srgbClr val="993366"/>
    <a:srgbClr val="00B050"/>
    <a:srgbClr val="ED7D31"/>
    <a:srgbClr val="339966"/>
    <a:srgbClr val="FF99CC"/>
    <a:srgbClr val="D64214"/>
    <a:srgbClr val="EAB200"/>
    <a:srgbClr val="FFD966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—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296" autoAdjust="0"/>
  </p:normalViewPr>
  <p:slideViewPr>
    <p:cSldViewPr snapToGrid="0">
      <p:cViewPr>
        <p:scale>
          <a:sx n="70" d="100"/>
          <a:sy n="70" d="100"/>
        </p:scale>
        <p:origin x="-1338" y="-576"/>
      </p:cViewPr>
      <p:guideLst>
        <p:guide orient="horz" pos="890"/>
        <p:guide orient="horz" pos="1200"/>
        <p:guide pos="347"/>
        <p:guide pos="7650"/>
        <p:guide pos="69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338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9A5FDA-3ABD-4F5A-A8E1-3EACD844AA0E}" type="datetime1">
              <a:rPr lang="ru-RU" smtClean="0"/>
              <a:pPr/>
              <a:t>21.0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B21B72-D5D6-4B25-81DB-AB85CA740B6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5868871"/>
      </p:ext>
    </p:extLst>
  </p:cSld>
  <p:clrMap bg1="lt1" tx1="dk1" bg2="lt2" tx2="dk2" accent1="accent1" accent2="accent2" accent3="accent3" accent4="accent4" accent5="accent5" accent6="accent6" hlink="hlink" folHlink="folHlink"/>
  <p:hf sldNum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EAABCD87-94AF-4B5B-BAF1-F5284FE899C7}" type="datetime1">
              <a:rPr lang="ru-RU" smtClean="0"/>
              <a:pPr/>
              <a:t>21.01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hf sldNum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«Функциональная грамотность. Тренажёр» помогают формировать умение осознанно использовать полученные в ходе обучения знания для решения жизненных задач, развивают активность и самостоятельность учащихся, вовлекают их в поисковую и познавательную деятельность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 пособиях содержатся разнообразные практико-ориентированные задания, поиск решения которых позволит школьникам подготовиться к участию в международных исследованиях качества образования, приведены примеры их решений и ответы. </a:t>
            </a:r>
          </a:p>
          <a:p>
            <a:pPr indent="288000"/>
            <a:r>
              <a:rPr lang="ru-RU" sz="180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я серии могут использоваться учителями математики, русского языка, обществознания, биологии, физики и химии на уроках и во внеурочной деятельности, а также родителями и школьниками.</a:t>
            </a:r>
          </a:p>
          <a:p>
            <a:endParaRPr lang="ru-RU" sz="1000" i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indent="288000"/>
            <a:r>
              <a:rPr lang="ru-RU" sz="1000" b="1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Более подробно о пособиях: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чебное пособие «Математика на каждый день» предназначено для учащихся 6‒8 классов. Задачи, включённые в сборник, направлены на совершенствование навыков применения полученных учащимися теоретических знаний по математике в жизненных ситуациях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Данное пособие поможет учителям понять систему построения задач международных исследований, в частности ― на проверку математической грамотности школьников. А это способность рассуждать логически и убедительно формулировать проблемы реального мира на языке математики, применять математические знания для решения проблемы и интерпретировать получившийся математический результат с переходом на контекст задачи. </a:t>
            </a:r>
          </a:p>
          <a:p>
            <a:pPr indent="288000"/>
            <a:r>
              <a:rPr lang="ru-RU" sz="10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собие также поможет учителю в создании условий для поиска оригинальных решений поставленных задач, а ученику ― решать важные жизненные проблемы.</a:t>
            </a:r>
          </a:p>
          <a:p>
            <a:endParaRPr lang="ru-RU" sz="1000" i="0" dirty="0"/>
          </a:p>
          <a:p>
            <a:pPr indent="287970"/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FA26F88D-531B-44D5-84D5-D31C9CB7BDC4}" type="datetime1">
              <a:rPr lang="ru-RU" smtClean="0"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19566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8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240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8F52C9-DC5B-46C3-93BE-8BD8D1CF841E}" type="datetime1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2409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1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3860190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>
          <a:xfrm>
            <a:off x="0" y="0"/>
            <a:ext cx="2927044" cy="540366"/>
          </a:xfrm>
          <a:prstGeom prst="rect">
            <a:avLst/>
          </a:prstGeom>
        </p:spPr>
        <p:txBody>
          <a:bodyPr/>
          <a:lstStyle/>
          <a:p>
            <a:r>
              <a:rPr lang="ru-RU" dirty="0"/>
              <a:t>1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>
          <a:xfrm>
            <a:off x="3825007" y="0"/>
            <a:ext cx="2927044" cy="540366"/>
          </a:xfrm>
          <a:prstGeom prst="rect">
            <a:avLst/>
          </a:prstGeom>
        </p:spPr>
        <p:txBody>
          <a:bodyPr/>
          <a:lstStyle/>
          <a:p>
            <a:fld id="{F834F1D5-33B3-480A-A4E8-311841A67364}" type="datetime1">
              <a:rPr lang="ru-RU" smtClean="0"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708095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r>
              <a:rPr lang="ru-RU" sz="1200" dirty="0"/>
              <a:t>Как известно, реализация проекта «Современная школа» предполагает внедрение </a:t>
            </a:r>
            <a:r>
              <a:rPr lang="ru-RU" sz="1200" b="1" dirty="0"/>
              <a:t>новых методов и образовательных технологий</a:t>
            </a:r>
            <a:r>
              <a:rPr lang="ru-RU" sz="1200" dirty="0"/>
              <a:t> – педагогических и информационных, – которые способствуют: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вовлечению учащихся в учебный процесс, повышению их мотивации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получению прочных базовых знаний и умений,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формированию умения применять полученные знания в жизни на благо обществу.</a:t>
            </a:r>
          </a:p>
          <a:p>
            <a:pPr indent="287970"/>
            <a:r>
              <a:rPr lang="ru-RU" sz="1200" dirty="0"/>
              <a:t>Иными словами, современная школа – это такая школа, в которой широко используются </a:t>
            </a:r>
            <a:r>
              <a:rPr lang="ru-RU" sz="1200" b="1" dirty="0"/>
              <a:t>практики развивающего обучения: 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dirty="0"/>
              <a:t>создание учебных ситуаций, </a:t>
            </a:r>
            <a:r>
              <a:rPr lang="ru-RU" sz="1200" i="1" dirty="0"/>
              <a:t>инициирующих</a:t>
            </a:r>
            <a:r>
              <a:rPr lang="ru-RU" sz="1200" dirty="0"/>
              <a:t> учебную деятельность учащихся, </a:t>
            </a:r>
            <a:r>
              <a:rPr lang="ru-RU" sz="1200" i="1" dirty="0"/>
              <a:t>мотивирующих</a:t>
            </a:r>
            <a:r>
              <a:rPr lang="ru-RU" sz="1200" dirty="0"/>
              <a:t> их на учебную деятельность;</a:t>
            </a:r>
            <a:endParaRPr lang="ru-RU" sz="1200" dirty="0">
              <a:solidFill>
                <a:srgbClr val="FF0000"/>
              </a:solidFill>
            </a:endParaRP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учение в общении</a:t>
            </a:r>
            <a:r>
              <a:rPr lang="ru-RU" sz="1200" dirty="0"/>
              <a:t> (</a:t>
            </a:r>
            <a:r>
              <a:rPr lang="ru-RU" sz="1200" i="1" dirty="0"/>
              <a:t>учебное сотрудничество), </a:t>
            </a:r>
            <a:r>
              <a:rPr lang="ru-RU" sz="1200" i="0" dirty="0"/>
              <a:t>задания на работу в парах и малых группах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поисковая активность </a:t>
            </a:r>
            <a:r>
              <a:rPr lang="ru-RU" sz="1200" dirty="0"/>
              <a:t>– задания поискового характера, учебные исследования, проекты;</a:t>
            </a:r>
          </a:p>
          <a:p>
            <a:pPr marL="1200150" lvl="2" indent="-285750">
              <a:buFont typeface="Arial" pitchFamily="34" charset="0"/>
              <a:buChar char="•"/>
            </a:pPr>
            <a:r>
              <a:rPr lang="ru-RU" sz="1200" i="1" dirty="0"/>
              <a:t>оценочная самостоятельность </a:t>
            </a:r>
            <a:r>
              <a:rPr lang="ru-RU" sz="1200" dirty="0"/>
              <a:t>школьников, задания на само- и взаимооценку.</a:t>
            </a:r>
          </a:p>
          <a:p>
            <a:pPr indent="287970"/>
            <a:r>
              <a:rPr lang="ru-RU" sz="1200" dirty="0"/>
              <a:t>Все эти практики широко</a:t>
            </a:r>
            <a:r>
              <a:rPr lang="ru-RU" sz="1200" baseline="0" dirty="0"/>
              <a:t> представлены в учебниках «Просвещения».</a:t>
            </a:r>
            <a:endParaRPr lang="ru-RU" dirty="0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r>
              <a:rPr lang="ru-RU" smtClean="0"/>
              <a:t>1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C303744-75B1-4822-B334-F398EF5941A4}" type="datetime1">
              <a:rPr lang="ru-RU" smtClean="0"/>
              <a:pPr/>
              <a:t>21.01.202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0641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body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Shape 59"/>
          <p:cNvSpPr txBox="1">
            <a:spLocks noGrp="1"/>
          </p:cNvSpPr>
          <p:nvPr>
            <p:ph type="title"/>
          </p:nvPr>
        </p:nvSpPr>
        <p:spPr>
          <a:xfrm>
            <a:off x="609600" y="274637"/>
            <a:ext cx="10972800" cy="1143200"/>
          </a:xfrm>
          <a:prstGeom prst="rect">
            <a:avLst/>
          </a:prstGeom>
        </p:spPr>
        <p:txBody>
          <a:bodyPr lIns="91425" tIns="91425" rIns="91425" bIns="91425" anchor="b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0" name="Shape 60"/>
          <p:cNvSpPr txBox="1">
            <a:spLocks noGrp="1"/>
          </p:cNvSpPr>
          <p:nvPr>
            <p:ph type="body" idx="1"/>
          </p:nvPr>
        </p:nvSpPr>
        <p:spPr>
          <a:xfrm>
            <a:off x="609600" y="1600200"/>
            <a:ext cx="10972800" cy="4967600"/>
          </a:xfrm>
          <a:prstGeom prst="rect">
            <a:avLst/>
          </a:prstGeom>
        </p:spPr>
        <p:txBody>
          <a:bodyPr lIns="91425" tIns="91425" rIns="91425" bIns="91425" anchor="t" anchorCtr="0"/>
          <a:lstStyle>
            <a:lvl1pPr lvl="0" rtl="0">
              <a:spcBef>
                <a:spcPts val="0"/>
              </a:spcBef>
              <a:defRPr/>
            </a:lvl1pPr>
            <a:lvl2pPr lvl="1" rtl="0">
              <a:spcBef>
                <a:spcPts val="0"/>
              </a:spcBef>
              <a:defRPr/>
            </a:lvl2pPr>
            <a:lvl3pPr lvl="2" rtl="0">
              <a:spcBef>
                <a:spcPts val="0"/>
              </a:spcBef>
              <a:defRPr/>
            </a:lvl3pPr>
            <a:lvl4pPr lvl="3" rtl="0">
              <a:spcBef>
                <a:spcPts val="0"/>
              </a:spcBef>
              <a:defRPr/>
            </a:lvl4pPr>
            <a:lvl5pPr lvl="4" rtl="0">
              <a:spcBef>
                <a:spcPts val="0"/>
              </a:spcBef>
              <a:defRPr/>
            </a:lvl5pPr>
            <a:lvl6pPr lvl="5" rtl="0">
              <a:spcBef>
                <a:spcPts val="0"/>
              </a:spcBef>
              <a:defRPr/>
            </a:lvl6pPr>
            <a:lvl7pPr lvl="6" rtl="0">
              <a:spcBef>
                <a:spcPts val="0"/>
              </a:spcBef>
              <a:defRPr/>
            </a:lvl7pPr>
            <a:lvl8pPr lvl="7" rtl="0">
              <a:spcBef>
                <a:spcPts val="0"/>
              </a:spcBef>
              <a:defRPr/>
            </a:lvl8pPr>
            <a:lvl9pPr lvl="8" rtl="0">
              <a:spcBef>
                <a:spcPts val="0"/>
              </a:spcBef>
              <a:defRPr/>
            </a:lvl9pPr>
          </a:lstStyle>
          <a:p>
            <a:endParaRPr/>
          </a:p>
        </p:txBody>
      </p:sp>
      <p:sp>
        <p:nvSpPr>
          <p:cNvPr id="61" name="Shape 61"/>
          <p:cNvSpPr txBox="1">
            <a:spLocks noGrp="1"/>
          </p:cNvSpPr>
          <p:nvPr>
            <p:ph type="sldNum" idx="12"/>
          </p:nvPr>
        </p:nvSpPr>
        <p:spPr>
          <a:xfrm>
            <a:off x="11409055" y="6333133"/>
            <a:ext cx="731600" cy="524800"/>
          </a:xfrm>
          <a:prstGeom prst="rect">
            <a:avLst/>
          </a:prstGeom>
        </p:spPr>
        <p:txBody>
          <a:bodyPr lIns="91425" tIns="91425" rIns="91425" bIns="91425" anchor="ctr" anchorCtr="0">
            <a:noAutofit/>
          </a:bodyPr>
          <a:lstStyle/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7768437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=""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" name="Слайд think-cell" r:id="rId17" imgW="360" imgH="360" progId="">
                  <p:embed/>
                </p:oleObj>
              </mc:Choice>
              <mc:Fallback>
                <p:oleObj name="Слайд think-cell" r:id="rId17" imgW="360" imgH="360" progId="">
                  <p:embed/>
                  <p:pic>
                    <p:nvPicPr>
                      <p:cNvPr id="0" name="Picture 4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=""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11.jpe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4.emf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14.jpe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13.jpe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12.jpe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notesSlide" Target="../notesSlides/notesSlide21.xml"/><Relationship Id="rId9" Type="http://schemas.openxmlformats.org/officeDocument/2006/relationships/image" Target="../media/image15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16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19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18.png"/><Relationship Id="rId4" Type="http://schemas.openxmlformats.org/officeDocument/2006/relationships/notesSlide" Target="../notesSlides/notesSlide23.xml"/><Relationship Id="rId9" Type="http://schemas.openxmlformats.org/officeDocument/2006/relationships/image" Target="../media/image17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22.jpe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21.jpe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6.jpeg"/><Relationship Id="rId5" Type="http://schemas.openxmlformats.org/officeDocument/2006/relationships/image" Target="../media/image25.jpeg"/><Relationship Id="rId4" Type="http://schemas.openxmlformats.org/officeDocument/2006/relationships/image" Target="../media/image24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image" Target="../media/image4.emf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jpeg"/><Relationship Id="rId13" Type="http://schemas.openxmlformats.org/officeDocument/2006/relationships/image" Target="../media/image40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4.jpeg"/><Relationship Id="rId12" Type="http://schemas.openxmlformats.org/officeDocument/2006/relationships/image" Target="../media/image39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image" Target="../media/image38.jpeg"/><Relationship Id="rId5" Type="http://schemas.openxmlformats.org/officeDocument/2006/relationships/oleObject" Target="../embeddings/oleObject26.bin"/><Relationship Id="rId15" Type="http://schemas.openxmlformats.org/officeDocument/2006/relationships/image" Target="../media/image42.gif"/><Relationship Id="rId10" Type="http://schemas.openxmlformats.org/officeDocument/2006/relationships/image" Target="../media/image37.jpeg"/><Relationship Id="rId4" Type="http://schemas.openxmlformats.org/officeDocument/2006/relationships/notesSlide" Target="../notesSlides/notesSlide25.xml"/><Relationship Id="rId9" Type="http://schemas.openxmlformats.org/officeDocument/2006/relationships/image" Target="../media/image36.jpeg"/><Relationship Id="rId14" Type="http://schemas.openxmlformats.org/officeDocument/2006/relationships/image" Target="../media/image41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6.xml"/><Relationship Id="rId9" Type="http://schemas.openxmlformats.org/officeDocument/2006/relationships/hyperlink" Target="https://4ege.ru/novosti-ege/4023-shkala-perevoda-ballov-ege.html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4.emf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emf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7.xml"/><Relationship Id="rId9" Type="http://schemas.openxmlformats.org/officeDocument/2006/relationships/image" Target="../media/image5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emf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25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5731" y="4126712"/>
            <a:ext cx="11620084" cy="2105192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r>
              <a:rPr lang="ru-RU" sz="28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Формирование читательской грамотности на уроке литературы.</a:t>
            </a:r>
          </a:p>
          <a:p>
            <a:pPr algn="l">
              <a:spcBef>
                <a:spcPts val="0"/>
              </a:spcBef>
            </a:pPr>
            <a:r>
              <a:rPr lang="ru-RU" sz="28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дготовка к ЕГЭ по литературе </a:t>
            </a:r>
          </a:p>
          <a:p>
            <a:pPr algn="l">
              <a:spcBef>
                <a:spcPts val="0"/>
              </a:spcBef>
            </a:pPr>
            <a:endParaRPr lang="ru-RU" sz="3200" b="1" dirty="0" smtClean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spcBef>
                <a:spcPts val="0"/>
              </a:spcBef>
            </a:pPr>
            <a:endParaRPr lang="ru-RU" sz="2000" b="1" dirty="0" smtClean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ru-RU" sz="20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алина Васильевна Крюкова, ведущий методист</a:t>
            </a:r>
            <a:endParaRPr lang="en-US" sz="2000" b="1" dirty="0" smtClean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sz="20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Kryukova@prosv.ru</a:t>
            </a:r>
            <a:endParaRPr lang="ru-RU" sz="2000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</a:t>
            </a:r>
            <a:endParaRPr lang="en-US" sz="933" dirty="0" smtClean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здательство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Просвещение», 20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г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7202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0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6788" y="122439"/>
            <a:ext cx="357822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итуация чте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0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746332" y="1351128"/>
            <a:ext cx="10676844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0" indent="-685800">
              <a:buFont typeface="Arial" panose="020B0604020202020204" pitchFamily="34" charset="0"/>
              <a:buChar char="•"/>
            </a:pPr>
            <a:r>
              <a:rPr lang="ru-RU" sz="5400" dirty="0" smtClean="0"/>
              <a:t>учебная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ru-RU" sz="5400" dirty="0" smtClean="0"/>
              <a:t>деловая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ru-RU" sz="5400" dirty="0" smtClean="0"/>
              <a:t>личная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ru-RU" sz="5400" dirty="0" smtClean="0"/>
              <a:t>общественная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ru-RU" sz="5400" dirty="0" smtClean="0">
                <a:solidFill>
                  <a:srgbClr val="FF0000"/>
                </a:solidFill>
              </a:rPr>
              <a:t>множественная </a:t>
            </a:r>
            <a:r>
              <a:rPr lang="ru-RU" sz="5400" dirty="0">
                <a:solidFill>
                  <a:srgbClr val="FF0000"/>
                </a:solidFill>
              </a:rPr>
              <a:t>(26%)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endParaRPr lang="ru-RU" sz="5400" dirty="0"/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4343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4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6788" y="122439"/>
            <a:ext cx="572599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Виды читательских умений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1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638378" y="1255594"/>
            <a:ext cx="1099121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3600" b="1" dirty="0" smtClean="0"/>
              <a:t>выявление </a:t>
            </a:r>
            <a:r>
              <a:rPr lang="ru-RU" sz="3600" b="1" dirty="0"/>
              <a:t>и анализ </a:t>
            </a:r>
            <a:r>
              <a:rPr lang="ru-RU" sz="3600" b="1" dirty="0" smtClean="0"/>
              <a:t>противоречий</a:t>
            </a:r>
            <a:endParaRPr lang="ru-RU" sz="3600" b="1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3600" b="1" dirty="0"/>
              <a:t>обобщение и формулирование </a:t>
            </a:r>
            <a:r>
              <a:rPr lang="ru-RU" sz="3600" b="1" dirty="0" smtClean="0"/>
              <a:t>выводов</a:t>
            </a:r>
            <a:endParaRPr lang="ru-RU" sz="3600" b="1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3600" b="1" dirty="0"/>
              <a:t>размышление над содержанием и формой </a:t>
            </a:r>
            <a:r>
              <a:rPr lang="ru-RU" sz="3600" b="1" dirty="0" smtClean="0"/>
              <a:t>текста</a:t>
            </a:r>
            <a:endParaRPr lang="ru-RU" sz="3600" b="1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3600" b="1" dirty="0"/>
              <a:t>выявление буквального </a:t>
            </a:r>
            <a:r>
              <a:rPr lang="ru-RU" sz="3600" b="1" dirty="0" smtClean="0"/>
              <a:t>смысла</a:t>
            </a:r>
            <a:endParaRPr lang="ru-RU" sz="3600" b="1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3600" b="1" dirty="0"/>
              <a:t>просмотр и </a:t>
            </a:r>
            <a:r>
              <a:rPr lang="ru-RU" sz="3600" b="1" dirty="0" smtClean="0"/>
              <a:t>поиск</a:t>
            </a:r>
            <a:endParaRPr lang="ru-RU" sz="3600" b="1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3600" b="1" dirty="0"/>
              <a:t>поиск и выбор соответствующего </a:t>
            </a:r>
            <a:r>
              <a:rPr lang="ru-RU" sz="3600" b="1" dirty="0" smtClean="0"/>
              <a:t>текста</a:t>
            </a:r>
            <a:endParaRPr lang="ru-RU" sz="3600" b="1" dirty="0"/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3600" b="1" dirty="0">
                <a:solidFill>
                  <a:srgbClr val="FF0000"/>
                </a:solidFill>
              </a:rPr>
              <a:t>оценка качества и надежности (35</a:t>
            </a:r>
            <a:r>
              <a:rPr lang="ru-RU" sz="3600" b="1" dirty="0" smtClean="0">
                <a:solidFill>
                  <a:srgbClr val="FF0000"/>
                </a:solidFill>
              </a:rPr>
              <a:t>%)</a:t>
            </a:r>
            <a:endParaRPr lang="ru-RU" sz="3600" b="1" dirty="0">
              <a:solidFill>
                <a:srgbClr val="FF0000"/>
              </a:solidFill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092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8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6788" y="122439"/>
            <a:ext cx="158998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Тексты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66352" y="1405719"/>
            <a:ext cx="11298018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000" dirty="0" smtClean="0"/>
              <a:t>Художественные </a:t>
            </a:r>
          </a:p>
          <a:p>
            <a:r>
              <a:rPr lang="ru-RU" sz="4000" dirty="0" smtClean="0"/>
              <a:t>Документальные</a:t>
            </a:r>
          </a:p>
          <a:p>
            <a:r>
              <a:rPr lang="ru-RU" sz="4000" dirty="0"/>
              <a:t>Художественно-документальные</a:t>
            </a:r>
          </a:p>
          <a:p>
            <a:r>
              <a:rPr lang="ru-RU" sz="4000" dirty="0" smtClean="0"/>
              <a:t>Философские </a:t>
            </a:r>
            <a:endParaRPr lang="ru-RU" sz="4000" dirty="0"/>
          </a:p>
          <a:p>
            <a:endParaRPr lang="ru-RU" sz="4000" dirty="0" smtClean="0"/>
          </a:p>
          <a:p>
            <a:r>
              <a:rPr lang="ru-RU" sz="4000" i="1" dirty="0" smtClean="0"/>
              <a:t>Письма  Статьи  Дневники  Мемуары…  </a:t>
            </a:r>
            <a:endParaRPr lang="ru-RU" sz="4000" i="1" dirty="0"/>
          </a:p>
          <a:p>
            <a:r>
              <a:rPr lang="ru-RU" sz="400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73055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35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6788" y="157264"/>
            <a:ext cx="388632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ЗАДАЧА «СИЗИФ»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38" name="Рисунок 37" descr="C:\Users\GKryukova\Desktop\1555341383_sizif.jpg"/>
          <p:cNvPicPr/>
          <p:nvPr/>
        </p:nvPicPr>
        <p:blipFill rotWithShape="1">
          <a:blip r:embed="rId8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956"/>
          <a:stretch/>
        </p:blipFill>
        <p:spPr bwMode="auto">
          <a:xfrm>
            <a:off x="976164" y="896655"/>
            <a:ext cx="10214999" cy="549049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3007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7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6788" y="260340"/>
            <a:ext cx="157523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Текст 1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4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91715" y="1187355"/>
            <a:ext cx="10367437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/>
              <a:t>Большой толковый словарь</a:t>
            </a:r>
          </a:p>
          <a:p>
            <a:endParaRPr lang="ru-RU" sz="3200" dirty="0"/>
          </a:p>
          <a:p>
            <a:pPr algn="just"/>
            <a:r>
              <a:rPr lang="ru-RU" sz="3200" i="1" dirty="0"/>
              <a:t>Сизифов труд, сизифова работа.  </a:t>
            </a:r>
            <a:r>
              <a:rPr lang="ru-RU" sz="3200" i="1" dirty="0" smtClean="0"/>
              <a:t>Об </a:t>
            </a:r>
            <a:r>
              <a:rPr lang="ru-RU" sz="3200" i="1" dirty="0"/>
              <a:t>Изнурительном и бесполезном </a:t>
            </a:r>
            <a:r>
              <a:rPr lang="ru-RU" sz="3200" i="1" dirty="0" smtClean="0"/>
              <a:t>труде. По </a:t>
            </a:r>
            <a:r>
              <a:rPr lang="ru-RU" sz="3200" i="1" dirty="0"/>
              <a:t>имени древнегреческого мифического царя Сизифа, осуждённого богами вечно вкатывать   </a:t>
            </a:r>
            <a:r>
              <a:rPr lang="ru-RU" sz="3200" i="1" dirty="0" smtClean="0"/>
              <a:t>на </a:t>
            </a:r>
            <a:r>
              <a:rPr lang="ru-RU" sz="3200" i="1" dirty="0"/>
              <a:t>гору камень, который, достигнув вершины, каждый раз скатывается обратно вниз.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2988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296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6788" y="207409"/>
            <a:ext cx="157523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Текст 2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441712" y="765502"/>
            <a:ext cx="11397464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1" dirty="0" smtClean="0"/>
              <a:t>Сизиф</a:t>
            </a:r>
          </a:p>
          <a:p>
            <a:pPr algn="just"/>
            <a:r>
              <a:rPr lang="ru-RU" sz="2000" b="1" dirty="0" smtClean="0"/>
              <a:t>Феликс Кривин</a:t>
            </a:r>
          </a:p>
          <a:p>
            <a:pPr algn="just"/>
            <a:r>
              <a:rPr lang="ru-RU" sz="2000" dirty="0" smtClean="0"/>
              <a:t>(</a:t>
            </a:r>
            <a:r>
              <a:rPr lang="ru-RU" sz="2000" dirty="0"/>
              <a:t>1)	</a:t>
            </a:r>
            <a:r>
              <a:rPr lang="ru-RU" sz="2000" i="1" dirty="0"/>
              <a:t>Он катил на гору свой камень.</a:t>
            </a:r>
          </a:p>
          <a:p>
            <a:pPr algn="just"/>
            <a:r>
              <a:rPr lang="ru-RU" sz="2000" i="1" dirty="0"/>
              <a:t>Он поднимал его до самой вершины, но камень опять скатывался вниз, и всё начиналось снова.</a:t>
            </a:r>
          </a:p>
          <a:p>
            <a:pPr algn="just"/>
            <a:r>
              <a:rPr lang="ru-RU" sz="2000" i="1" dirty="0"/>
              <a:t>(2)	Тогда он пошёл на хитрость.</a:t>
            </a:r>
          </a:p>
          <a:p>
            <a:pPr algn="just"/>
            <a:r>
              <a:rPr lang="ru-RU" sz="2000" i="1" dirty="0"/>
              <a:t>Он взял щепочку, подложил её под камень, и камень остался лежать на вершине.</a:t>
            </a:r>
          </a:p>
          <a:p>
            <a:pPr algn="just"/>
            <a:r>
              <a:rPr lang="ru-RU" sz="2000" i="1" dirty="0"/>
              <a:t>Впервые за много веков он свободно вздохнул. Он вытер пот со лба и сел в стороне, глядя на дело своих рук.</a:t>
            </a:r>
          </a:p>
          <a:p>
            <a:pPr algn="just"/>
            <a:r>
              <a:rPr lang="ru-RU" sz="2000" i="1" dirty="0"/>
              <a:t>Камень лежал на вершине горы, а он сидел и думал, что труд его был не напрасен, и был очень доволен собой.</a:t>
            </a:r>
          </a:p>
          <a:p>
            <a:pPr algn="just"/>
            <a:r>
              <a:rPr lang="ru-RU" sz="2000" i="1" dirty="0"/>
              <a:t>(3)	Один за другим проходили века, и всё так же стояла гора и лежал камень, и он сидел, погружённый в мысли о том, что труд его был не напрасен. Ничто не менялось вокруг. Сегодня было то, что вчера. Завтра будет то, что сегодня.</a:t>
            </a:r>
          </a:p>
          <a:p>
            <a:pPr algn="just"/>
            <a:r>
              <a:rPr lang="ru-RU" sz="2000" i="1" dirty="0"/>
              <a:t>(4)	У него отекли ноги и онемела спина. Ему стало казаться, что если он ещё немного так посидит, то и сам превратится в камень. Он встал и полез на гору. Он вытащил щепочку, и камень с шумом покатился вниз, а он бежал за ним, прыгая с уступа на уступ и чувствуя прилив новых сил. </a:t>
            </a:r>
          </a:p>
          <a:p>
            <a:pPr algn="just"/>
            <a:r>
              <a:rPr lang="ru-RU" sz="2000" i="1" dirty="0"/>
              <a:t>У подножия горы он догнал камень и остановил его. </a:t>
            </a:r>
            <a:endParaRPr lang="ru-RU" sz="2000" i="1" dirty="0" smtClean="0"/>
          </a:p>
          <a:p>
            <a:pPr marL="457200" indent="-457200" algn="just">
              <a:buAutoNum type="arabicParenBoth" startAt="5"/>
            </a:pPr>
            <a:r>
              <a:rPr lang="ru-RU" sz="2000" i="1" dirty="0" smtClean="0"/>
              <a:t>Потом </a:t>
            </a:r>
            <a:r>
              <a:rPr lang="ru-RU" sz="2000" i="1" dirty="0"/>
              <a:t>поплевал на руки и покатил камень вверх, к вершине горы</a:t>
            </a:r>
            <a:r>
              <a:rPr lang="ru-RU" sz="2000" i="1" dirty="0" smtClean="0"/>
              <a:t>…    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13137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20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6788" y="122439"/>
            <a:ext cx="409900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Вопросы и зада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6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14127" y="1064524"/>
            <a:ext cx="11250925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1. В </a:t>
            </a:r>
            <a:r>
              <a:rPr lang="ru-RU" sz="2800" dirty="0"/>
              <a:t>чём смысл общеизвестного мифа о Сизифе?  </a:t>
            </a:r>
            <a:endParaRPr lang="ru-RU" sz="2800" dirty="0" smtClean="0"/>
          </a:p>
          <a:p>
            <a:r>
              <a:rPr lang="ru-RU" sz="2800" dirty="0" smtClean="0"/>
              <a:t>Отметьте </a:t>
            </a:r>
            <a:r>
              <a:rPr lang="ru-RU" sz="2800" dirty="0"/>
              <a:t>один правильный ответ.</a:t>
            </a:r>
          </a:p>
          <a:p>
            <a:r>
              <a:rPr lang="ru-RU" sz="2800" dirty="0"/>
              <a:t>1) за все свои поступки приходится расплачиваться</a:t>
            </a:r>
          </a:p>
          <a:p>
            <a:r>
              <a:rPr lang="ru-RU" sz="2800" dirty="0"/>
              <a:t>2) бессмысленный труд — самое тяжкое наказание</a:t>
            </a:r>
          </a:p>
          <a:p>
            <a:r>
              <a:rPr lang="ru-RU" sz="2800" dirty="0"/>
              <a:t>3) и царям приходится много работать</a:t>
            </a:r>
          </a:p>
          <a:p>
            <a:r>
              <a:rPr lang="ru-RU" sz="2800" dirty="0"/>
              <a:t>4) труд необходим любому человеку</a:t>
            </a:r>
          </a:p>
          <a:p>
            <a:endParaRPr lang="ru-RU" sz="2800" dirty="0"/>
          </a:p>
          <a:p>
            <a:r>
              <a:rPr lang="ru-RU" sz="2800" dirty="0"/>
              <a:t>2. Мог ли камень не скатиться с вершины горы  </a:t>
            </a:r>
            <a:r>
              <a:rPr lang="ru-RU" sz="2800" dirty="0" smtClean="0"/>
              <a:t>в </a:t>
            </a:r>
            <a:r>
              <a:rPr lang="ru-RU" sz="2800" dirty="0"/>
              <a:t>мифе о Сизифе</a:t>
            </a:r>
            <a:r>
              <a:rPr lang="ru-RU" sz="2800" dirty="0" smtClean="0"/>
              <a:t>?                Дайте </a:t>
            </a:r>
            <a:r>
              <a:rPr lang="ru-RU" sz="2800" dirty="0"/>
              <a:t>ответ «Да» или «Нет» и объясните его.</a:t>
            </a:r>
          </a:p>
          <a:p>
            <a:endParaRPr lang="ru-RU" sz="2800" dirty="0"/>
          </a:p>
          <a:p>
            <a:r>
              <a:rPr lang="ru-RU" sz="2800" dirty="0"/>
              <a:t>3. Выберите ту часть рассказа Ф. Кривина, где писатель пересказывает миф о Сизифе, и запишите её номер.</a:t>
            </a:r>
          </a:p>
        </p:txBody>
      </p:sp>
      <p:pic>
        <p:nvPicPr>
          <p:cNvPr id="23" name="Picture 2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1773" y="1064524"/>
            <a:ext cx="1916312" cy="1916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1311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2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6788" y="122439"/>
            <a:ext cx="409900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Вопросы и зада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17194" y="1119116"/>
            <a:ext cx="11001516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/>
              <a:t>4. Почему </a:t>
            </a:r>
            <a:r>
              <a:rPr lang="ru-RU" sz="2800" dirty="0"/>
              <a:t>в рассказе Ф. Кривина Сизиф был доволен собой, когда камень удалось удержать на вершине? </a:t>
            </a:r>
            <a:r>
              <a:rPr lang="ru-RU" sz="2800" dirty="0" smtClean="0"/>
              <a:t>Выпишите </a:t>
            </a:r>
            <a:r>
              <a:rPr lang="ru-RU" sz="2800" dirty="0"/>
              <a:t>из текста слова, которые служат ответом на этот вопрос.</a:t>
            </a:r>
          </a:p>
          <a:p>
            <a:endParaRPr lang="ru-RU" sz="2800" dirty="0"/>
          </a:p>
          <a:p>
            <a:r>
              <a:rPr lang="ru-RU" sz="2800" dirty="0"/>
              <a:t>5. Почему в рассказе Ф. Кривина Сизиф вытащил щепку </a:t>
            </a:r>
            <a:r>
              <a:rPr lang="ru-RU" sz="2800" dirty="0" smtClean="0"/>
              <a:t>из-под </a:t>
            </a:r>
            <a:r>
              <a:rPr lang="ru-RU" sz="2800" dirty="0"/>
              <a:t>камня? </a:t>
            </a:r>
            <a:endParaRPr lang="ru-RU" sz="2800" dirty="0" smtClean="0"/>
          </a:p>
          <a:p>
            <a:r>
              <a:rPr lang="ru-RU" sz="2800" dirty="0" smtClean="0"/>
              <a:t>Отметьте </a:t>
            </a:r>
            <a:r>
              <a:rPr lang="ru-RU" sz="2800" dirty="0"/>
              <a:t>один ответ, который лучше всего </a:t>
            </a:r>
            <a:r>
              <a:rPr lang="ru-RU" sz="2800" dirty="0" smtClean="0"/>
              <a:t>это </a:t>
            </a:r>
            <a:r>
              <a:rPr lang="ru-RU" sz="2800" dirty="0"/>
              <a:t>объясняет.</a:t>
            </a:r>
          </a:p>
          <a:p>
            <a:r>
              <a:rPr lang="ru-RU" sz="2800" dirty="0"/>
              <a:t>1) он мог сам превратиться в камень</a:t>
            </a:r>
          </a:p>
          <a:p>
            <a:r>
              <a:rPr lang="ru-RU" sz="2800" dirty="0"/>
              <a:t>2) ему стало ясно, что невозможно что-либо изменить</a:t>
            </a:r>
          </a:p>
          <a:p>
            <a:r>
              <a:rPr lang="ru-RU" sz="2800" dirty="0"/>
              <a:t>3) ему надоело, что ничего не меняется вокруг</a:t>
            </a:r>
          </a:p>
          <a:p>
            <a:r>
              <a:rPr lang="ru-RU" sz="2800" dirty="0"/>
              <a:t>4) он почувствовал прилив новых сил</a:t>
            </a:r>
          </a:p>
        </p:txBody>
      </p:sp>
      <p:pic>
        <p:nvPicPr>
          <p:cNvPr id="184326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184107">
            <a:off x="9090238" y="3986640"/>
            <a:ext cx="1920875" cy="1920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131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6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6788" y="122439"/>
            <a:ext cx="409900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Вопросы и задания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18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17194" y="1201003"/>
            <a:ext cx="10933278" cy="43088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/>
              <a:t>6. В конце рассказа Ф. Кривина Сизиф возвращается   </a:t>
            </a:r>
            <a:r>
              <a:rPr lang="ru-RU" sz="3200" dirty="0" smtClean="0"/>
              <a:t>                        к </a:t>
            </a:r>
            <a:r>
              <a:rPr lang="ru-RU" sz="3200" dirty="0"/>
              <a:t>прежней тяжёлой работе. Какие слова в тексте показывают, что его отношение к этой работе изменилось?  </a:t>
            </a:r>
            <a:r>
              <a:rPr lang="ru-RU" sz="3200" dirty="0" smtClean="0"/>
              <a:t>                         Выпишите </a:t>
            </a:r>
            <a:r>
              <a:rPr lang="ru-RU" sz="3200" dirty="0"/>
              <a:t>из текста эти слова.</a:t>
            </a:r>
          </a:p>
          <a:p>
            <a:endParaRPr lang="ru-RU" sz="3200" dirty="0"/>
          </a:p>
          <a:p>
            <a:r>
              <a:rPr lang="ru-RU" sz="3200" dirty="0"/>
              <a:t>7. Какую мысль, по вашему мнению, хотел выразить  </a:t>
            </a:r>
            <a:r>
              <a:rPr lang="ru-RU" sz="3200" dirty="0" smtClean="0"/>
              <a:t>                       Ф</a:t>
            </a:r>
            <a:r>
              <a:rPr lang="ru-RU" sz="3200" dirty="0"/>
              <a:t>. Кривин в своей версии истории о Сизифе?</a:t>
            </a:r>
          </a:p>
          <a:p>
            <a:endParaRPr lang="ru-RU" sz="3200" dirty="0"/>
          </a:p>
          <a:p>
            <a:endParaRPr lang="ru-RU" dirty="0"/>
          </a:p>
        </p:txBody>
      </p:sp>
      <p:pic>
        <p:nvPicPr>
          <p:cNvPr id="23" name="Picture 2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109883">
            <a:off x="4517665" y="4956399"/>
            <a:ext cx="1372014" cy="13720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998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7242734" y="1456955"/>
            <a:ext cx="3936436" cy="3133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endParaRPr lang="ru-RU" sz="1400" dirty="0" smtClean="0">
              <a:solidFill>
                <a:schemeClr val="tx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4" name="Picture 2" descr="C:\Users\Галина\Desktop\КРЮКОВ\img253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02970" y="1282489"/>
            <a:ext cx="5003225" cy="5052038"/>
          </a:xfrm>
          <a:prstGeom prst="rect">
            <a:avLst/>
          </a:prstGeom>
          <a:noFill/>
        </p:spPr>
      </p:pic>
      <p:pic>
        <p:nvPicPr>
          <p:cNvPr id="25" name="Picture 2" descr="C:\Users\Галина\Desktop\КРЮКОВ\illjustracija-gospodin-iz-san-francisko-hudozhnik-o-verejskij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5844301" y="1282489"/>
            <a:ext cx="3496031" cy="5052038"/>
          </a:xfrm>
          <a:prstGeom prst="rect">
            <a:avLst/>
          </a:prstGeom>
          <a:noFill/>
        </p:spPr>
      </p:pic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7232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53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60378" y="692017"/>
            <a:ext cx="212596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Вопросы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2</a:t>
            </a:fld>
            <a:endParaRPr lang="ru-RU" dirty="0"/>
          </a:p>
        </p:txBody>
      </p:sp>
      <p:grpSp>
        <p:nvGrpSpPr>
          <p:cNvPr id="33" name="Группа 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1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9" name="Picture 26" descr="C:\Users\GKryukova\Desktop\IMG-20200622-WA0036.jpg"/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9130" r="10230" b="11801"/>
          <a:stretch/>
        </p:blipFill>
        <p:spPr bwMode="auto">
          <a:xfrm>
            <a:off x="5894942" y="634162"/>
            <a:ext cx="5990173" cy="5806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40697" y="1637731"/>
            <a:ext cx="585471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solidFill>
                  <a:srgbClr val="FF0000"/>
                </a:solidFill>
              </a:rPr>
              <a:t>Что</a:t>
            </a:r>
            <a:r>
              <a:rPr lang="ru-RU" sz="2800" b="1" dirty="0" smtClean="0">
                <a:solidFill>
                  <a:srgbClr val="2F5597"/>
                </a:solidFill>
              </a:rPr>
              <a:t> есть читательская грамотность?</a:t>
            </a:r>
          </a:p>
          <a:p>
            <a:endParaRPr lang="ru-RU" dirty="0"/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0781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7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7242734" y="1456955"/>
            <a:ext cx="3936436" cy="3133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endParaRPr lang="ru-RU" sz="1400" dirty="0" smtClean="0">
              <a:solidFill>
                <a:schemeClr val="tx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746332" y="1009934"/>
            <a:ext cx="1043283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Рассмотрите фотографии внутренних </a:t>
            </a:r>
            <a:r>
              <a:rPr lang="ru-RU" sz="2400" dirty="0" smtClean="0"/>
              <a:t>интерьеров «</a:t>
            </a:r>
            <a:r>
              <a:rPr lang="ru-RU" sz="2400" dirty="0"/>
              <a:t>Титаника». Представьте, что вы ведёте собственный блог о мореплавателях, морских регатах и кораблях. Дайте описание интерьера «Титаника» в форме поста для вашего блога. Ответьте на вопрос: чем будет отличаться ваше описание «Титаника» </a:t>
            </a:r>
            <a:endParaRPr lang="ru-RU" sz="2400" dirty="0" smtClean="0"/>
          </a:p>
          <a:p>
            <a:r>
              <a:rPr lang="ru-RU" sz="2400" dirty="0" smtClean="0"/>
              <a:t>от </a:t>
            </a:r>
            <a:r>
              <a:rPr lang="ru-RU" sz="2400" dirty="0"/>
              <a:t>описания «Атлантиды» И</a:t>
            </a:r>
            <a:r>
              <a:rPr lang="ru-RU" sz="2400" dirty="0" smtClean="0"/>
              <a:t>. А. Бунина</a:t>
            </a:r>
            <a:r>
              <a:rPr lang="ru-RU" sz="2400" dirty="0"/>
              <a:t>? </a:t>
            </a:r>
          </a:p>
        </p:txBody>
      </p:sp>
      <p:pic>
        <p:nvPicPr>
          <p:cNvPr id="25" name="Picture 2" descr="C:\Users\Галина\Desktop\КРЮКОВ\viewImage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096836" y="3719059"/>
            <a:ext cx="3710238" cy="2290358"/>
          </a:xfrm>
          <a:prstGeom prst="rect">
            <a:avLst/>
          </a:prstGeom>
          <a:noFill/>
        </p:spPr>
      </p:pic>
      <p:pic>
        <p:nvPicPr>
          <p:cNvPr id="26" name="Picture 3" descr="C:\Users\Галина\Desktop\КРЮКОВ\titanic-interior-05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70240" y="3736809"/>
            <a:ext cx="3124668" cy="2314414"/>
          </a:xfrm>
          <a:prstGeom prst="rect">
            <a:avLst/>
          </a:prstGeom>
          <a:noFill/>
        </p:spPr>
      </p:pic>
      <p:pic>
        <p:nvPicPr>
          <p:cNvPr id="27" name="Picture 4" descr="C:\Users\Галина\Desktop\КРЮКОВ\1426697578_muzey-titanika-8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575770" y="3736809"/>
            <a:ext cx="3398293" cy="2272608"/>
          </a:xfrm>
          <a:prstGeom prst="rect">
            <a:avLst/>
          </a:prstGeom>
          <a:noFill/>
        </p:spPr>
      </p:pic>
      <p:sp>
        <p:nvSpPr>
          <p:cNvPr id="29" name="Прямоугольник 28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799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2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7242734" y="1456955"/>
            <a:ext cx="3936436" cy="3133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endParaRPr lang="ru-RU" sz="1400" dirty="0" smtClean="0">
              <a:solidFill>
                <a:schemeClr val="tx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9" cstate="print"/>
          <a:srcRect b="34986"/>
          <a:stretch>
            <a:fillRect/>
          </a:stretch>
        </p:blipFill>
        <p:spPr bwMode="auto">
          <a:xfrm>
            <a:off x="260211" y="695308"/>
            <a:ext cx="7529913" cy="59960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extBox 1"/>
          <p:cNvSpPr txBox="1"/>
          <p:nvPr/>
        </p:nvSpPr>
        <p:spPr>
          <a:xfrm>
            <a:off x="7790123" y="1119117"/>
            <a:ext cx="4056133" cy="2308324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2400" dirty="0"/>
              <a:t>Объясните в 5,6 предложениях, почему </a:t>
            </a:r>
            <a:r>
              <a:rPr lang="ru-RU" sz="2400" dirty="0" err="1"/>
              <a:t>И.А.Бунин</a:t>
            </a:r>
            <a:r>
              <a:rPr lang="ru-RU" sz="2400" dirty="0"/>
              <a:t> назвал пароход, на котором плыл господин, «Атлантида». Аргументируйте свой ответ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9845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1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7242734" y="1456955"/>
            <a:ext cx="3936436" cy="3133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endParaRPr lang="ru-RU" sz="1400" dirty="0" smtClean="0">
              <a:solidFill>
                <a:schemeClr val="tx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800421" y="322198"/>
            <a:ext cx="8334179" cy="62505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71349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7242734" y="1456955"/>
            <a:ext cx="3936436" cy="3133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endParaRPr lang="ru-RU" sz="1400" dirty="0" smtClean="0">
              <a:solidFill>
                <a:schemeClr val="tx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9" cstate="print"/>
          <a:srcRect l="3529" b="12059"/>
          <a:stretch>
            <a:fillRect/>
          </a:stretch>
        </p:blipFill>
        <p:spPr bwMode="auto">
          <a:xfrm>
            <a:off x="2527038" y="334407"/>
            <a:ext cx="7080698" cy="1122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0" cstate="print"/>
          <a:srcRect t="5649" r="3488" b="3369"/>
          <a:stretch>
            <a:fillRect/>
          </a:stretch>
        </p:blipFill>
        <p:spPr bwMode="auto">
          <a:xfrm>
            <a:off x="2621435" y="1456955"/>
            <a:ext cx="7085534" cy="52343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6" name="Рисунок 25"/>
          <p:cNvPicPr/>
          <p:nvPr/>
        </p:nvPicPr>
        <p:blipFill>
          <a:blip r:embed="rId11" cstate="print"/>
          <a:stretch>
            <a:fillRect/>
          </a:stretch>
        </p:blipFill>
        <p:spPr>
          <a:xfrm>
            <a:off x="194460" y="895681"/>
            <a:ext cx="2184655" cy="2776765"/>
          </a:xfrm>
          <a:prstGeom prst="rect">
            <a:avLst/>
          </a:prstGeom>
          <a:ln>
            <a:solidFill>
              <a:srgbClr val="C00000"/>
            </a:solidFill>
          </a:ln>
        </p:spPr>
      </p:pic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4488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7242734" y="1456955"/>
            <a:ext cx="3936436" cy="3133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endParaRPr lang="ru-RU" sz="1400" dirty="0" smtClean="0">
              <a:solidFill>
                <a:schemeClr val="tx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40696" y="1763356"/>
            <a:ext cx="11500224" cy="25210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5" name="TextBox 24"/>
          <p:cNvSpPr txBox="1"/>
          <p:nvPr/>
        </p:nvSpPr>
        <p:spPr>
          <a:xfrm>
            <a:off x="535007" y="4094790"/>
            <a:ext cx="187220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1913 год</a:t>
            </a:r>
            <a:endParaRPr lang="ru-RU" sz="28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6270626" y="4022815"/>
            <a:ext cx="194421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1915-1916</a:t>
            </a:r>
            <a:endParaRPr lang="ru-RU" sz="28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7" name="Picture 2" descr="C:\Users\Галина\Desktop\КРЮКОВ\Edwardian-McCall-1-3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804012" y="4605334"/>
            <a:ext cx="4512136" cy="2176753"/>
          </a:xfrm>
          <a:prstGeom prst="rect">
            <a:avLst/>
          </a:prstGeom>
          <a:noFill/>
        </p:spPr>
      </p:pic>
      <p:pic>
        <p:nvPicPr>
          <p:cNvPr id="28" name="Picture 2" descr="C:\Users\Галина\Desktop\КРЮКОВ\chp776-411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45459" y="4649302"/>
            <a:ext cx="3051880" cy="2042580"/>
          </a:xfrm>
          <a:prstGeom prst="rect">
            <a:avLst/>
          </a:prstGeom>
          <a:noFill/>
          <a:ln>
            <a:solidFill>
              <a:srgbClr val="222BE2"/>
            </a:solidFill>
          </a:ln>
        </p:spPr>
      </p:pic>
    </p:spTree>
    <p:extLst>
      <p:ext uri="{BB962C8B-B14F-4D97-AF65-F5344CB8AC3E}">
        <p14:creationId xmlns:p14="http://schemas.microsoft.com/office/powerpoint/2010/main" val="3722397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5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0" name="Freeform 44"/>
          <p:cNvSpPr>
            <a:spLocks noEditPoints="1"/>
          </p:cNvSpPr>
          <p:nvPr/>
        </p:nvSpPr>
        <p:spPr bwMode="auto">
          <a:xfrm>
            <a:off x="11606322" y="5464056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pic>
        <p:nvPicPr>
          <p:cNvPr id="64514" name="Picture 2" descr="Архангельский А.Н.. Книги онлайн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549" y="2235771"/>
            <a:ext cx="1619250" cy="2190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515" name="Picture 3" descr="C:\Users\GKryukova\Desktop\tyu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85"/>
          <a:stretch/>
        </p:blipFill>
        <p:spPr bwMode="auto">
          <a:xfrm>
            <a:off x="2257628" y="2230465"/>
            <a:ext cx="1598905" cy="2180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9" name="Freeform 44"/>
          <p:cNvSpPr>
            <a:spLocks noEditPoints="1"/>
          </p:cNvSpPr>
          <p:nvPr/>
        </p:nvSpPr>
        <p:spPr bwMode="auto">
          <a:xfrm>
            <a:off x="11605404" y="5409624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125" name="Freeform 44"/>
          <p:cNvSpPr>
            <a:spLocks noEditPoints="1"/>
          </p:cNvSpPr>
          <p:nvPr/>
        </p:nvSpPr>
        <p:spPr bwMode="auto">
          <a:xfrm>
            <a:off x="11605404" y="5371553"/>
            <a:ext cx="351059" cy="380284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" name="TextBox 4"/>
          <p:cNvSpPr txBox="1"/>
          <p:nvPr/>
        </p:nvSpPr>
        <p:spPr>
          <a:xfrm>
            <a:off x="3956695" y="2166372"/>
            <a:ext cx="7026864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А</a:t>
            </a:r>
            <a:r>
              <a:rPr lang="ru-RU" dirty="0"/>
              <a:t>. Н. Архангельский, кандидат филологических наук, </a:t>
            </a:r>
            <a:r>
              <a:rPr lang="ru-RU" dirty="0" smtClean="0"/>
              <a:t>               профессор </a:t>
            </a:r>
            <a:r>
              <a:rPr lang="ru-RU" dirty="0"/>
              <a:t>факультета </a:t>
            </a:r>
            <a:r>
              <a:rPr lang="ru-RU" dirty="0" err="1"/>
              <a:t>медиакоммуника­ций</a:t>
            </a:r>
            <a:r>
              <a:rPr lang="ru-RU" dirty="0"/>
              <a:t> НИУ ВШЭ, </a:t>
            </a:r>
            <a:r>
              <a:rPr lang="ru-RU" dirty="0" smtClean="0"/>
              <a:t>                писатель</a:t>
            </a:r>
            <a:r>
              <a:rPr lang="ru-RU" dirty="0"/>
              <a:t>, телеведущий, литера­туровед </a:t>
            </a:r>
            <a:r>
              <a:rPr lang="ru-RU" dirty="0" smtClean="0"/>
              <a:t>и </a:t>
            </a:r>
            <a:r>
              <a:rPr lang="ru-RU" dirty="0"/>
              <a:t>литературный </a:t>
            </a:r>
            <a:r>
              <a:rPr lang="ru-RU" dirty="0" smtClean="0"/>
              <a:t>критик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Т</a:t>
            </a:r>
            <a:r>
              <a:rPr lang="ru-RU" dirty="0"/>
              <a:t>. Ю. Смирнова, директор православной гимназии "Образ", учитель русского языка и литературы высшей </a:t>
            </a:r>
            <a:r>
              <a:rPr lang="ru-RU" dirty="0" smtClean="0"/>
              <a:t>категории 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Методическая </a:t>
            </a:r>
            <a:r>
              <a:rPr lang="ru-RU" dirty="0"/>
              <a:t>концепция разрабатывалась при участии кандидата психологических наук З. Н. </a:t>
            </a:r>
            <a:r>
              <a:rPr lang="ru-RU" dirty="0" err="1"/>
              <a:t>Новлянской</a:t>
            </a:r>
            <a:r>
              <a:rPr lang="ru-RU" dirty="0"/>
              <a:t>. 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2257628" y="322198"/>
            <a:ext cx="85538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accent5">
                    <a:lumMod val="50000"/>
                  </a:schemeClr>
                </a:solidFill>
              </a:rPr>
              <a:t>Авторский коллектив</a:t>
            </a:r>
            <a:endParaRPr lang="ru-RU" sz="2800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8970" y="4664604"/>
            <a:ext cx="1162653" cy="1521220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0390" y="4664604"/>
            <a:ext cx="1194475" cy="1562857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0014" y="4727798"/>
            <a:ext cx="1138823" cy="1490040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849" y="4661789"/>
            <a:ext cx="1143125" cy="1495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584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6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07848" y="1194099"/>
            <a:ext cx="5594919" cy="2280621"/>
          </a:xfrm>
          <a:prstGeom prst="roundRect">
            <a:avLst/>
          </a:prstGeom>
          <a:solidFill>
            <a:srgbClr val="D8EB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336254" y="1194099"/>
            <a:ext cx="5336229" cy="2280621"/>
          </a:xfrm>
          <a:prstGeom prst="roundRect">
            <a:avLst/>
          </a:prstGeom>
          <a:solidFill>
            <a:srgbClr val="D8EB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407849" y="3723939"/>
            <a:ext cx="5594918" cy="2182009"/>
          </a:xfrm>
          <a:prstGeom prst="roundRect">
            <a:avLst/>
          </a:prstGeom>
          <a:solidFill>
            <a:srgbClr val="D8EB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336255" y="3723939"/>
            <a:ext cx="5336229" cy="2182009"/>
          </a:xfrm>
          <a:prstGeom prst="roundRect">
            <a:avLst/>
          </a:prstGeom>
          <a:solidFill>
            <a:srgbClr val="D8EBF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568036" y="1734244"/>
            <a:ext cx="528412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solidFill>
                  <a:srgbClr val="002060"/>
                </a:solidFill>
              </a:rPr>
              <a:t>В основе методики – </a:t>
            </a:r>
            <a:r>
              <a:rPr lang="ru-RU" dirty="0" err="1">
                <a:solidFill>
                  <a:srgbClr val="002060"/>
                </a:solidFill>
              </a:rPr>
              <a:t>деятельностный</a:t>
            </a:r>
            <a:r>
              <a:rPr lang="ru-RU" dirty="0">
                <a:solidFill>
                  <a:srgbClr val="002060"/>
                </a:solidFill>
              </a:rPr>
              <a:t> принцип и сотворчество учителя и учеников. </a:t>
            </a:r>
            <a:r>
              <a:rPr lang="ru-RU" dirty="0" smtClean="0">
                <a:solidFill>
                  <a:srgbClr val="002060"/>
                </a:solidFill>
              </a:rPr>
              <a:t>Простота </a:t>
            </a:r>
            <a:r>
              <a:rPr lang="ru-RU" dirty="0">
                <a:solidFill>
                  <a:srgbClr val="002060"/>
                </a:solidFill>
              </a:rPr>
              <a:t>и наглядность соединяются </a:t>
            </a:r>
            <a:r>
              <a:rPr lang="ru-RU" dirty="0" smtClean="0">
                <a:solidFill>
                  <a:srgbClr val="002060"/>
                </a:solidFill>
              </a:rPr>
              <a:t>с </a:t>
            </a:r>
            <a:r>
              <a:rPr lang="ru-RU" dirty="0">
                <a:solidFill>
                  <a:srgbClr val="002060"/>
                </a:solidFill>
              </a:rPr>
              <a:t>научной точностью </a:t>
            </a:r>
            <a:r>
              <a:rPr lang="ru-RU" dirty="0" smtClean="0">
                <a:solidFill>
                  <a:srgbClr val="002060"/>
                </a:solidFill>
              </a:rPr>
              <a:t>изложения.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486861" y="1583637"/>
            <a:ext cx="482592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solidFill>
                  <a:srgbClr val="002060"/>
                </a:solidFill>
              </a:rPr>
              <a:t>В программе много новых и современных произведений, интересных и актуальных для подростков. Произведения русских и зарубежных авторов соседствуют и перекликаются в разных рубриках и темах </a:t>
            </a:r>
            <a:r>
              <a:rPr lang="ru-RU" dirty="0" smtClean="0">
                <a:solidFill>
                  <a:srgbClr val="002060"/>
                </a:solidFill>
              </a:rPr>
              <a:t>учебника.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38378" y="4055633"/>
            <a:ext cx="510620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>
                <a:solidFill>
                  <a:srgbClr val="002060"/>
                </a:solidFill>
              </a:rPr>
              <a:t>Курс построен не по историческому, а по тематическому принципу, насыщен взаимосвязями и ассоциациями, которые помогают детям воспринимать литературу разных эпох и </a:t>
            </a:r>
            <a:r>
              <a:rPr lang="ru-RU" dirty="0" smtClean="0">
                <a:solidFill>
                  <a:srgbClr val="002060"/>
                </a:solidFill>
              </a:rPr>
              <a:t>стилей.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6486861" y="3891613"/>
            <a:ext cx="498585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002060"/>
                </a:solidFill>
              </a:rPr>
              <a:t>Включены интересные для школьников задания, связанные с </a:t>
            </a:r>
            <a:r>
              <a:rPr lang="ru-RU" dirty="0" err="1">
                <a:solidFill>
                  <a:srgbClr val="002060"/>
                </a:solidFill>
              </a:rPr>
              <a:t>видеокультурой</a:t>
            </a:r>
            <a:r>
              <a:rPr lang="ru-RU" dirty="0">
                <a:solidFill>
                  <a:srgbClr val="002060"/>
                </a:solidFill>
              </a:rPr>
              <a:t>, мультимедиа и социальными </a:t>
            </a:r>
            <a:r>
              <a:rPr lang="ru-RU" dirty="0" smtClean="0">
                <a:solidFill>
                  <a:srgbClr val="002060"/>
                </a:solidFill>
              </a:rPr>
              <a:t>сетями.</a:t>
            </a:r>
            <a:endParaRPr lang="ru-RU" dirty="0">
              <a:solidFill>
                <a:srgbClr val="00206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17194" y="732434"/>
            <a:ext cx="110472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 smtClean="0">
                <a:solidFill>
                  <a:srgbClr val="002060"/>
                </a:solidFill>
              </a:rPr>
              <a:t>Линия </a:t>
            </a:r>
            <a:r>
              <a:rPr lang="ru-RU" sz="2400" dirty="0">
                <a:solidFill>
                  <a:srgbClr val="002060"/>
                </a:solidFill>
              </a:rPr>
              <a:t>УМК по </a:t>
            </a:r>
            <a:r>
              <a:rPr lang="ru-RU" sz="2400" dirty="0" smtClean="0">
                <a:solidFill>
                  <a:srgbClr val="002060"/>
                </a:solidFill>
              </a:rPr>
              <a:t>литературе А</a:t>
            </a:r>
            <a:r>
              <a:rPr lang="ru-RU" sz="2400" dirty="0">
                <a:solidFill>
                  <a:srgbClr val="002060"/>
                </a:solidFill>
              </a:rPr>
              <a:t>. Н. Архангельского и Т. Ю. </a:t>
            </a:r>
            <a:r>
              <a:rPr lang="ru-RU" sz="2400" dirty="0" smtClean="0">
                <a:solidFill>
                  <a:srgbClr val="002060"/>
                </a:solidFill>
              </a:rPr>
              <a:t>Смирновой. 5–9, 10–11</a:t>
            </a:r>
            <a:endParaRPr lang="ru-RU" sz="2400" dirty="0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95718" y="6088828"/>
            <a:ext cx="113767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385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29" name="Номер слайда 2"/>
          <p:cNvSpPr txBox="1">
            <a:spLocks/>
          </p:cNvSpPr>
          <p:nvPr/>
        </p:nvSpPr>
        <p:spPr>
          <a:xfrm>
            <a:off x="11312783" y="161008"/>
            <a:ext cx="719403" cy="356659"/>
          </a:xfrm>
          <a:prstGeom prst="rect">
            <a:avLst/>
          </a:prstGeom>
        </p:spPr>
        <p:txBody>
          <a:bodyPr vert="horz" lIns="91425" tIns="91425" rIns="91425" bIns="91425" rtlCol="0" anchor="ctr" anchorCtr="0">
            <a:no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0000000-1234-1234-1234-123412341234}" type="slidenum">
              <a:rPr lang="en" sz="1600" smtClean="0">
                <a:solidFill>
                  <a:srgbClr val="2D2B8D"/>
                </a:solidFill>
                <a:latin typeface="Calibri" pitchFamily="34" charset="0"/>
              </a:rPr>
              <a:pPr>
                <a:defRPr/>
              </a:pPr>
              <a:t>27</a:t>
            </a:fld>
            <a:endParaRPr lang="en" sz="1600" dirty="0">
              <a:solidFill>
                <a:srgbClr val="2D2B8D"/>
              </a:solidFill>
              <a:latin typeface="Calibri" pitchFamily="34" charset="0"/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2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3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4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5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6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7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5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xmlns="" id="{E6838642-F192-40B3-9CE9-54140F0A90E1}"/>
              </a:ext>
            </a:extLst>
          </p:cNvPr>
          <p:cNvSpPr/>
          <p:nvPr/>
        </p:nvSpPr>
        <p:spPr>
          <a:xfrm>
            <a:off x="137987" y="6539932"/>
            <a:ext cx="30065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© АО «Издательство «Просвещение», 20</a:t>
            </a: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r>
              <a:rPr kumimoji="0" lang="ru-RU" sz="10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95717" y="1528699"/>
            <a:ext cx="5245703" cy="36933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  <a:p>
            <a:endParaRPr lang="ru-RU" dirty="0"/>
          </a:p>
        </p:txBody>
      </p:sp>
      <p:pic>
        <p:nvPicPr>
          <p:cNvPr id="634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415" y="1674684"/>
            <a:ext cx="4734306" cy="30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295719" y="820813"/>
            <a:ext cx="116237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>
                <a:solidFill>
                  <a:schemeClr val="accent5">
                    <a:lumMod val="50000"/>
                  </a:schemeClr>
                </a:solidFill>
              </a:rPr>
              <a:t>Установка нового учебно-методического </a:t>
            </a:r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</a:rPr>
              <a:t>комплекса: сочетание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</a:rPr>
              <a:t>«золотого фонда» </a:t>
            </a:r>
            <a:endParaRPr lang="ru-RU" sz="2000" dirty="0" smtClean="0">
              <a:solidFill>
                <a:schemeClr val="accent5">
                  <a:lumMod val="50000"/>
                </a:schemeClr>
              </a:solidFill>
            </a:endParaRPr>
          </a:p>
          <a:p>
            <a:pPr algn="just"/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</a:rPr>
              <a:t>отечественной 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</a:rPr>
              <a:t>классики в контексте мировой литературы и современного литературного </a:t>
            </a:r>
            <a:r>
              <a:rPr lang="ru-RU" sz="2000" dirty="0" smtClean="0">
                <a:solidFill>
                  <a:schemeClr val="accent5">
                    <a:lumMod val="50000"/>
                  </a:schemeClr>
                </a:solidFill>
              </a:rPr>
              <a:t> материала </a:t>
            </a:r>
            <a:endParaRPr lang="ru-RU" dirty="0">
              <a:solidFill>
                <a:schemeClr val="accent5">
                  <a:lumMod val="50000"/>
                </a:schemeClr>
              </a:solidFill>
            </a:endParaRPr>
          </a:p>
        </p:txBody>
      </p:sp>
      <p:pic>
        <p:nvPicPr>
          <p:cNvPr id="6246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3063" y="1528699"/>
            <a:ext cx="5749720" cy="850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468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0795" y="2534255"/>
            <a:ext cx="3456698" cy="1954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469" name="Picture 5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2628" y="3511282"/>
            <a:ext cx="4719856" cy="28031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696" y="5287889"/>
            <a:ext cx="5300723" cy="11974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85091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=""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0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=""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296424" y="862366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/>
          <p:cNvSpPr/>
          <p:nvPr/>
        </p:nvSpPr>
        <p:spPr>
          <a:xfrm>
            <a:off x="9464369" y="5237768"/>
            <a:ext cx="23115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endParaRPr lang="ru-RU" sz="1400" b="1" dirty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578072" y="1060942"/>
            <a:ext cx="6497436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b="1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Предназначены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для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формирования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и оценки всех аспектов функциональной грамотности, которые изучаются в международном сравнительном исследовании PISA.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Содержат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обучающие и тренировочные 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задания.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се задания построены на основе реальных жизненных ситуаций. 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600" b="1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Могут быть использованы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 обучающих целях педагогами на уроках и во внеурочной деятельности, а также администрацией школы для организации </a:t>
            </a:r>
            <a:r>
              <a:rPr lang="ru-RU" sz="1600" dirty="0" err="1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внутришкольного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мониторинга по оценке функциональной грамотности учащихся 5 </a:t>
            </a:r>
            <a:r>
              <a:rPr lang="en-US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-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7 классов</a:t>
            </a:r>
            <a:r>
              <a:rPr lang="ru-RU" sz="1600" dirty="0" smtClean="0">
                <a:latin typeface="Arial" panose="020B0604020202020204" pitchFamily="34" charset="0"/>
                <a:ea typeface="Open Sans Light" panose="020B0306030504020204" pitchFamily="34" charset="0"/>
                <a:cs typeface="Arial" panose="020B0604020202020204" pitchFamily="34" charset="0"/>
              </a:rPr>
              <a:t>.</a:t>
            </a:r>
            <a:endParaRPr lang="ru-RU" sz="1600" b="1" dirty="0">
              <a:latin typeface="Arial" panose="020B0604020202020204" pitchFamily="34" charset="0"/>
              <a:ea typeface="Open Sans Light" panose="020B0306030504020204" pitchFamily="34" charset="0"/>
              <a:cs typeface="Arial" panose="020B0604020202020204" pitchFamily="34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326" y="4216496"/>
            <a:ext cx="1449015" cy="19124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1953" y="1251212"/>
            <a:ext cx="1556354" cy="20540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1299" y="1204955"/>
            <a:ext cx="1629015" cy="214996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6482" y="4269261"/>
            <a:ext cx="1467664" cy="193701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5124" y="4243240"/>
            <a:ext cx="1408486" cy="18589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3321" y="4290117"/>
            <a:ext cx="1436059" cy="189530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326" y="1248795"/>
            <a:ext cx="1519798" cy="20058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225" y="1226356"/>
            <a:ext cx="1553801" cy="20506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pSp>
        <p:nvGrpSpPr>
          <p:cNvPr id="45" name="Группа 44"/>
          <p:cNvGrpSpPr/>
          <p:nvPr/>
        </p:nvGrpSpPr>
        <p:grpSpPr>
          <a:xfrm>
            <a:off x="10522251" y="99315"/>
            <a:ext cx="1479392" cy="596183"/>
            <a:chOff x="10851723" y="285768"/>
            <a:chExt cx="1479392" cy="596183"/>
          </a:xfrm>
        </p:grpSpPr>
        <p:grpSp>
          <p:nvGrpSpPr>
            <p:cNvPr id="46" name="Группа 45">
              <a:extLst>
                <a:ext uri="{FF2B5EF4-FFF2-40B4-BE49-F238E27FC236}">
                  <a16:creationId xmlns="" xmlns:a16="http://schemas.microsoft.com/office/drawing/2014/main" id="{F891D045-80B5-4DC6-A762-D4045AC0D02E}"/>
                </a:ext>
              </a:extLst>
            </p:cNvPr>
            <p:cNvGrpSpPr/>
            <p:nvPr/>
          </p:nvGrpSpPr>
          <p:grpSpPr>
            <a:xfrm>
              <a:off x="11073251" y="285768"/>
              <a:ext cx="1036335" cy="358338"/>
              <a:chOff x="10099577" y="300997"/>
              <a:chExt cx="1512553" cy="523002"/>
            </a:xfrm>
            <a:solidFill>
              <a:srgbClr val="2D2B8D"/>
            </a:solidFill>
          </p:grpSpPr>
          <p:sp>
            <p:nvSpPr>
              <p:cNvPr id="48" name="Freeform 6">
                <a:extLst>
                  <a:ext uri="{FF2B5EF4-FFF2-40B4-BE49-F238E27FC236}">
                    <a16:creationId xmlns="" xmlns:a16="http://schemas.microsoft.com/office/drawing/2014/main" id="{AA46FCA3-52A7-42DF-B423-50E2D3A9446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104558" y="546724"/>
                <a:ext cx="576131" cy="33206"/>
              </a:xfrm>
              <a:custGeom>
                <a:avLst/>
                <a:gdLst/>
                <a:ahLst/>
                <a:cxnLst>
                  <a:cxn ang="0">
                    <a:pos x="1505" y="0"/>
                  </a:cxn>
                  <a:cxn ang="0">
                    <a:pos x="0" y="0"/>
                  </a:cxn>
                  <a:cxn ang="0">
                    <a:pos x="0" y="84"/>
                  </a:cxn>
                  <a:cxn ang="0">
                    <a:pos x="1509" y="84"/>
                  </a:cxn>
                  <a:cxn ang="0">
                    <a:pos x="1505" y="0"/>
                  </a:cxn>
                </a:cxnLst>
                <a:rect l="0" t="0" r="r" b="b"/>
                <a:pathLst>
                  <a:path w="1509" h="84">
                    <a:moveTo>
                      <a:pt x="1505" y="0"/>
                    </a:moveTo>
                    <a:lnTo>
                      <a:pt x="0" y="0"/>
                    </a:lnTo>
                    <a:lnTo>
                      <a:pt x="0" y="84"/>
                    </a:lnTo>
                    <a:lnTo>
                      <a:pt x="1509" y="84"/>
                    </a:lnTo>
                    <a:lnTo>
                      <a:pt x="1505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49" name="Freeform 7">
                <a:extLst>
                  <a:ext uri="{FF2B5EF4-FFF2-40B4-BE49-F238E27FC236}">
                    <a16:creationId xmlns="" xmlns:a16="http://schemas.microsoft.com/office/drawing/2014/main" id="{C6711D80-4A50-4C96-8DFF-F72F58809F0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029357" y="546724"/>
                <a:ext cx="576131" cy="33206"/>
              </a:xfrm>
              <a:custGeom>
                <a:avLst/>
                <a:gdLst/>
                <a:ahLst/>
                <a:cxnLst>
                  <a:cxn ang="0">
                    <a:pos x="1510" y="0"/>
                  </a:cxn>
                  <a:cxn ang="0">
                    <a:pos x="9" y="0"/>
                  </a:cxn>
                  <a:cxn ang="0">
                    <a:pos x="0" y="84"/>
                  </a:cxn>
                  <a:cxn ang="0">
                    <a:pos x="1510" y="84"/>
                  </a:cxn>
                  <a:cxn ang="0">
                    <a:pos x="1510" y="0"/>
                  </a:cxn>
                </a:cxnLst>
                <a:rect l="0" t="0" r="r" b="b"/>
                <a:pathLst>
                  <a:path w="1510" h="84">
                    <a:moveTo>
                      <a:pt x="1510" y="0"/>
                    </a:moveTo>
                    <a:lnTo>
                      <a:pt x="9" y="0"/>
                    </a:lnTo>
                    <a:lnTo>
                      <a:pt x="0" y="84"/>
                    </a:lnTo>
                    <a:lnTo>
                      <a:pt x="1510" y="84"/>
                    </a:lnTo>
                    <a:lnTo>
                      <a:pt x="151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Freeform 8">
                <a:extLst>
                  <a:ext uri="{FF2B5EF4-FFF2-40B4-BE49-F238E27FC236}">
                    <a16:creationId xmlns="" xmlns:a16="http://schemas.microsoft.com/office/drawing/2014/main" id="{D4BF838A-63D2-4F88-9531-7E80D8414C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099577" y="666268"/>
                <a:ext cx="131166" cy="122864"/>
              </a:xfrm>
              <a:custGeom>
                <a:avLst/>
                <a:gdLst/>
                <a:ahLst/>
                <a:cxnLst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8" y="309"/>
                  </a:cxn>
                  <a:cxn ang="0">
                    <a:pos x="148" y="292"/>
                  </a:cxn>
                  <a:cxn ang="0">
                    <a:pos x="106" y="283"/>
                  </a:cxn>
                  <a:cxn ang="0">
                    <a:pos x="106" y="30"/>
                  </a:cxn>
                  <a:cxn ang="0">
                    <a:pos x="232" y="30"/>
                  </a:cxn>
                  <a:cxn ang="0">
                    <a:pos x="232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0" y="0"/>
                  </a:cxn>
                  <a:cxn ang="0">
                    <a:pos x="0" y="17"/>
                  </a:cxn>
                </a:cxnLst>
                <a:rect l="0" t="0" r="r" b="b"/>
                <a:pathLst>
                  <a:path w="342" h="309">
                    <a:moveTo>
                      <a:pt x="0" y="17"/>
                    </a:move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8" y="309"/>
                    </a:lnTo>
                    <a:lnTo>
                      <a:pt x="148" y="292"/>
                    </a:lnTo>
                    <a:lnTo>
                      <a:pt x="106" y="283"/>
                    </a:lnTo>
                    <a:lnTo>
                      <a:pt x="106" y="30"/>
                    </a:lnTo>
                    <a:lnTo>
                      <a:pt x="232" y="30"/>
                    </a:lnTo>
                    <a:lnTo>
                      <a:pt x="232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0" y="0"/>
                    </a:lnTo>
                    <a:lnTo>
                      <a:pt x="0" y="1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Freeform 9">
                <a:extLst>
                  <a:ext uri="{FF2B5EF4-FFF2-40B4-BE49-F238E27FC236}">
                    <a16:creationId xmlns="" xmlns:a16="http://schemas.microsoft.com/office/drawing/2014/main" id="{EE5733E1-860D-4949-B528-F0144EF42E9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253987" y="666268"/>
                <a:ext cx="89658" cy="122864"/>
              </a:xfrm>
              <a:custGeom>
                <a:avLst/>
                <a:gdLst/>
                <a:ahLst/>
                <a:cxnLst>
                  <a:cxn ang="0">
                    <a:pos x="148" y="0"/>
                  </a:cxn>
                  <a:cxn ang="0">
                    <a:pos x="139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39" y="309"/>
                  </a:cxn>
                  <a:cxn ang="0">
                    <a:pos x="156" y="309"/>
                  </a:cxn>
                  <a:cxn ang="0">
                    <a:pos x="156" y="292"/>
                  </a:cxn>
                  <a:cxn ang="0">
                    <a:pos x="139" y="288"/>
                  </a:cxn>
                  <a:cxn ang="0">
                    <a:pos x="101" y="283"/>
                  </a:cxn>
                  <a:cxn ang="0">
                    <a:pos x="101" y="178"/>
                  </a:cxn>
                  <a:cxn ang="0">
                    <a:pos x="127" y="178"/>
                  </a:cxn>
                  <a:cxn ang="0">
                    <a:pos x="139" y="178"/>
                  </a:cxn>
                  <a:cxn ang="0">
                    <a:pos x="236" y="81"/>
                  </a:cxn>
                  <a:cxn ang="0">
                    <a:pos x="148" y="0"/>
                  </a:cxn>
                  <a:cxn ang="0">
                    <a:pos x="139" y="161"/>
                  </a:cxn>
                  <a:cxn ang="0">
                    <a:pos x="139" y="161"/>
                  </a:cxn>
                  <a:cxn ang="0">
                    <a:pos x="118" y="161"/>
                  </a:cxn>
                  <a:cxn ang="0">
                    <a:pos x="101" y="161"/>
                  </a:cxn>
                  <a:cxn ang="0">
                    <a:pos x="101" y="21"/>
                  </a:cxn>
                  <a:cxn ang="0">
                    <a:pos x="118" y="21"/>
                  </a:cxn>
                  <a:cxn ang="0">
                    <a:pos x="139" y="26"/>
                  </a:cxn>
                  <a:cxn ang="0">
                    <a:pos x="173" y="93"/>
                  </a:cxn>
                  <a:cxn ang="0">
                    <a:pos x="139" y="161"/>
                  </a:cxn>
                </a:cxnLst>
                <a:rect l="0" t="0" r="r" b="b"/>
                <a:pathLst>
                  <a:path w="236" h="309">
                    <a:moveTo>
                      <a:pt x="148" y="0"/>
                    </a:moveTo>
                    <a:lnTo>
                      <a:pt x="139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39" y="309"/>
                    </a:lnTo>
                    <a:lnTo>
                      <a:pt x="156" y="309"/>
                    </a:lnTo>
                    <a:lnTo>
                      <a:pt x="156" y="292"/>
                    </a:lnTo>
                    <a:lnTo>
                      <a:pt x="139" y="288"/>
                    </a:lnTo>
                    <a:lnTo>
                      <a:pt x="101" y="283"/>
                    </a:lnTo>
                    <a:lnTo>
                      <a:pt x="101" y="178"/>
                    </a:lnTo>
                    <a:lnTo>
                      <a:pt x="127" y="178"/>
                    </a:lnTo>
                    <a:lnTo>
                      <a:pt x="139" y="178"/>
                    </a:lnTo>
                    <a:cubicBezTo>
                      <a:pt x="203" y="174"/>
                      <a:pt x="236" y="144"/>
                      <a:pt x="236" y="81"/>
                    </a:cubicBezTo>
                    <a:cubicBezTo>
                      <a:pt x="236" y="26"/>
                      <a:pt x="198" y="0"/>
                      <a:pt x="148" y="0"/>
                    </a:cubicBezTo>
                    <a:close/>
                    <a:moveTo>
                      <a:pt x="139" y="161"/>
                    </a:moveTo>
                    <a:lnTo>
                      <a:pt x="139" y="161"/>
                    </a:lnTo>
                    <a:lnTo>
                      <a:pt x="118" y="161"/>
                    </a:lnTo>
                    <a:lnTo>
                      <a:pt x="101" y="161"/>
                    </a:lnTo>
                    <a:lnTo>
                      <a:pt x="101" y="21"/>
                    </a:lnTo>
                    <a:lnTo>
                      <a:pt x="118" y="21"/>
                    </a:lnTo>
                    <a:cubicBezTo>
                      <a:pt x="122" y="21"/>
                      <a:pt x="131" y="21"/>
                      <a:pt x="139" y="26"/>
                    </a:cubicBezTo>
                    <a:cubicBezTo>
                      <a:pt x="156" y="30"/>
                      <a:pt x="173" y="51"/>
                      <a:pt x="173" y="93"/>
                    </a:cubicBezTo>
                    <a:cubicBezTo>
                      <a:pt x="173" y="123"/>
                      <a:pt x="165" y="152"/>
                      <a:pt x="139" y="161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Freeform 10">
                <a:extLst>
                  <a:ext uri="{FF2B5EF4-FFF2-40B4-BE49-F238E27FC236}">
                    <a16:creationId xmlns="" xmlns:a16="http://schemas.microsoft.com/office/drawing/2014/main" id="{95C544C4-FE20-4E54-8575-B167316C805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368549" y="664607"/>
                <a:ext cx="121204" cy="126184"/>
              </a:xfrm>
              <a:custGeom>
                <a:avLst/>
                <a:gdLst/>
                <a:ahLst/>
                <a:cxnLst>
                  <a:cxn ang="0">
                    <a:pos x="160" y="0"/>
                  </a:cxn>
                  <a:cxn ang="0">
                    <a:pos x="156" y="0"/>
                  </a:cxn>
                  <a:cxn ang="0">
                    <a:pos x="0" y="156"/>
                  </a:cxn>
                  <a:cxn ang="0">
                    <a:pos x="156" y="317"/>
                  </a:cxn>
                  <a:cxn ang="0">
                    <a:pos x="160" y="317"/>
                  </a:cxn>
                  <a:cxn ang="0">
                    <a:pos x="317" y="156"/>
                  </a:cxn>
                  <a:cxn ang="0">
                    <a:pos x="160" y="0"/>
                  </a:cxn>
                  <a:cxn ang="0">
                    <a:pos x="160" y="300"/>
                  </a:cxn>
                  <a:cxn ang="0">
                    <a:pos x="160" y="300"/>
                  </a:cxn>
                  <a:cxn ang="0">
                    <a:pos x="156" y="300"/>
                  </a:cxn>
                  <a:cxn ang="0">
                    <a:pos x="72" y="148"/>
                  </a:cxn>
                  <a:cxn ang="0">
                    <a:pos x="156" y="17"/>
                  </a:cxn>
                  <a:cxn ang="0">
                    <a:pos x="245" y="169"/>
                  </a:cxn>
                  <a:cxn ang="0">
                    <a:pos x="160" y="300"/>
                  </a:cxn>
                </a:cxnLst>
                <a:rect l="0" t="0" r="r" b="b"/>
                <a:pathLst>
                  <a:path w="317" h="317">
                    <a:moveTo>
                      <a:pt x="160" y="0"/>
                    </a:moveTo>
                    <a:lnTo>
                      <a:pt x="156" y="0"/>
                    </a:lnTo>
                    <a:cubicBezTo>
                      <a:pt x="55" y="0"/>
                      <a:pt x="0" y="55"/>
                      <a:pt x="0" y="156"/>
                    </a:cubicBezTo>
                    <a:cubicBezTo>
                      <a:pt x="0" y="262"/>
                      <a:pt x="55" y="317"/>
                      <a:pt x="156" y="317"/>
                    </a:cubicBezTo>
                    <a:lnTo>
                      <a:pt x="160" y="317"/>
                    </a:lnTo>
                    <a:cubicBezTo>
                      <a:pt x="258" y="317"/>
                      <a:pt x="317" y="262"/>
                      <a:pt x="317" y="156"/>
                    </a:cubicBezTo>
                    <a:cubicBezTo>
                      <a:pt x="317" y="55"/>
                      <a:pt x="262" y="0"/>
                      <a:pt x="160" y="0"/>
                    </a:cubicBezTo>
                    <a:close/>
                    <a:moveTo>
                      <a:pt x="160" y="300"/>
                    </a:moveTo>
                    <a:lnTo>
                      <a:pt x="160" y="300"/>
                    </a:lnTo>
                    <a:lnTo>
                      <a:pt x="156" y="300"/>
                    </a:lnTo>
                    <a:cubicBezTo>
                      <a:pt x="110" y="296"/>
                      <a:pt x="72" y="258"/>
                      <a:pt x="72" y="148"/>
                    </a:cubicBezTo>
                    <a:cubicBezTo>
                      <a:pt x="72" y="55"/>
                      <a:pt x="106" y="21"/>
                      <a:pt x="156" y="17"/>
                    </a:cubicBezTo>
                    <a:cubicBezTo>
                      <a:pt x="207" y="21"/>
                      <a:pt x="245" y="63"/>
                      <a:pt x="245" y="169"/>
                    </a:cubicBezTo>
                    <a:cubicBezTo>
                      <a:pt x="245" y="232"/>
                      <a:pt x="220" y="300"/>
                      <a:pt x="160" y="30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68" name="Freeform 11">
                <a:extLst>
                  <a:ext uri="{FF2B5EF4-FFF2-40B4-BE49-F238E27FC236}">
                    <a16:creationId xmlns="" xmlns:a16="http://schemas.microsoft.com/office/drawing/2014/main" id="{4FEC91D6-B0AB-4057-8F7C-1D51A31054E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517978" y="664607"/>
                <a:ext cx="111241" cy="126184"/>
              </a:xfrm>
              <a:custGeom>
                <a:avLst/>
                <a:gdLst/>
                <a:ahLst/>
                <a:cxnLst>
                  <a:cxn ang="0">
                    <a:pos x="190" y="296"/>
                  </a:cxn>
                  <a:cxn ang="0">
                    <a:pos x="72" y="156"/>
                  </a:cxn>
                  <a:cxn ang="0">
                    <a:pos x="173" y="21"/>
                  </a:cxn>
                  <a:cxn ang="0">
                    <a:pos x="266" y="101"/>
                  </a:cxn>
                  <a:cxn ang="0">
                    <a:pos x="283" y="101"/>
                  </a:cxn>
                  <a:cxn ang="0">
                    <a:pos x="283" y="17"/>
                  </a:cxn>
                  <a:cxn ang="0">
                    <a:pos x="262" y="17"/>
                  </a:cxn>
                  <a:cxn ang="0">
                    <a:pos x="165" y="0"/>
                  </a:cxn>
                  <a:cxn ang="0">
                    <a:pos x="0" y="152"/>
                  </a:cxn>
                  <a:cxn ang="0">
                    <a:pos x="165" y="317"/>
                  </a:cxn>
                  <a:cxn ang="0">
                    <a:pos x="292" y="287"/>
                  </a:cxn>
                  <a:cxn ang="0">
                    <a:pos x="292" y="241"/>
                  </a:cxn>
                  <a:cxn ang="0">
                    <a:pos x="283" y="241"/>
                  </a:cxn>
                  <a:cxn ang="0">
                    <a:pos x="190" y="296"/>
                  </a:cxn>
                </a:cxnLst>
                <a:rect l="0" t="0" r="r" b="b"/>
                <a:pathLst>
                  <a:path w="292" h="317">
                    <a:moveTo>
                      <a:pt x="190" y="296"/>
                    </a:moveTo>
                    <a:cubicBezTo>
                      <a:pt x="114" y="296"/>
                      <a:pt x="72" y="224"/>
                      <a:pt x="72" y="156"/>
                    </a:cubicBezTo>
                    <a:cubicBezTo>
                      <a:pt x="72" y="80"/>
                      <a:pt x="110" y="21"/>
                      <a:pt x="173" y="21"/>
                    </a:cubicBezTo>
                    <a:cubicBezTo>
                      <a:pt x="224" y="21"/>
                      <a:pt x="258" y="51"/>
                      <a:pt x="266" y="101"/>
                    </a:cubicBezTo>
                    <a:lnTo>
                      <a:pt x="283" y="101"/>
                    </a:lnTo>
                    <a:lnTo>
                      <a:pt x="283" y="17"/>
                    </a:lnTo>
                    <a:lnTo>
                      <a:pt x="262" y="17"/>
                    </a:lnTo>
                    <a:cubicBezTo>
                      <a:pt x="233" y="8"/>
                      <a:pt x="199" y="0"/>
                      <a:pt x="165" y="0"/>
                    </a:cubicBezTo>
                    <a:cubicBezTo>
                      <a:pt x="76" y="0"/>
                      <a:pt x="0" y="47"/>
                      <a:pt x="0" y="152"/>
                    </a:cubicBezTo>
                    <a:cubicBezTo>
                      <a:pt x="0" y="254"/>
                      <a:pt x="68" y="317"/>
                      <a:pt x="165" y="317"/>
                    </a:cubicBezTo>
                    <a:cubicBezTo>
                      <a:pt x="237" y="317"/>
                      <a:pt x="262" y="300"/>
                      <a:pt x="292" y="287"/>
                    </a:cubicBezTo>
                    <a:lnTo>
                      <a:pt x="292" y="241"/>
                    </a:lnTo>
                    <a:lnTo>
                      <a:pt x="283" y="241"/>
                    </a:lnTo>
                    <a:cubicBezTo>
                      <a:pt x="271" y="279"/>
                      <a:pt x="228" y="296"/>
                      <a:pt x="190" y="296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Freeform 12">
                <a:extLst>
                  <a:ext uri="{FF2B5EF4-FFF2-40B4-BE49-F238E27FC236}">
                    <a16:creationId xmlns="" xmlns:a16="http://schemas.microsoft.com/office/drawing/2014/main" id="{C182FEA9-FC07-4415-96D0-A1D8535A23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654125" y="666268"/>
                <a:ext cx="96299" cy="122864"/>
              </a:xfrm>
              <a:custGeom>
                <a:avLst/>
                <a:gdLst/>
                <a:ahLst/>
                <a:cxnLst>
                  <a:cxn ang="0">
                    <a:pos x="174" y="148"/>
                  </a:cxn>
                  <a:cxn ang="0">
                    <a:pos x="174" y="144"/>
                  </a:cxn>
                  <a:cxn ang="0">
                    <a:pos x="241" y="72"/>
                  </a:cxn>
                  <a:cxn ang="0">
                    <a:pos x="14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40" y="309"/>
                  </a:cxn>
                  <a:cxn ang="0">
                    <a:pos x="148" y="309"/>
                  </a:cxn>
                  <a:cxn ang="0">
                    <a:pos x="254" y="228"/>
                  </a:cxn>
                  <a:cxn ang="0">
                    <a:pos x="174" y="148"/>
                  </a:cxn>
                  <a:cxn ang="0">
                    <a:pos x="102" y="21"/>
                  </a:cxn>
                  <a:cxn ang="0">
                    <a:pos x="102" y="21"/>
                  </a:cxn>
                  <a:cxn ang="0">
                    <a:pos x="140" y="26"/>
                  </a:cxn>
                  <a:cxn ang="0">
                    <a:pos x="174" y="81"/>
                  </a:cxn>
                  <a:cxn ang="0">
                    <a:pos x="140" y="136"/>
                  </a:cxn>
                  <a:cxn ang="0">
                    <a:pos x="127" y="140"/>
                  </a:cxn>
                  <a:cxn ang="0">
                    <a:pos x="102" y="140"/>
                  </a:cxn>
                  <a:cxn ang="0">
                    <a:pos x="102" y="21"/>
                  </a:cxn>
                  <a:cxn ang="0">
                    <a:pos x="140" y="288"/>
                  </a:cxn>
                  <a:cxn ang="0">
                    <a:pos x="140" y="288"/>
                  </a:cxn>
                  <a:cxn ang="0">
                    <a:pos x="102" y="271"/>
                  </a:cxn>
                  <a:cxn ang="0">
                    <a:pos x="102" y="157"/>
                  </a:cxn>
                  <a:cxn ang="0">
                    <a:pos x="127" y="157"/>
                  </a:cxn>
                  <a:cxn ang="0">
                    <a:pos x="140" y="157"/>
                  </a:cxn>
                  <a:cxn ang="0">
                    <a:pos x="190" y="228"/>
                  </a:cxn>
                  <a:cxn ang="0">
                    <a:pos x="140" y="288"/>
                  </a:cxn>
                </a:cxnLst>
                <a:rect l="0" t="0" r="r" b="b"/>
                <a:pathLst>
                  <a:path w="254" h="309">
                    <a:moveTo>
                      <a:pt x="174" y="148"/>
                    </a:moveTo>
                    <a:lnTo>
                      <a:pt x="174" y="144"/>
                    </a:lnTo>
                    <a:cubicBezTo>
                      <a:pt x="212" y="136"/>
                      <a:pt x="241" y="110"/>
                      <a:pt x="241" y="72"/>
                    </a:cubicBezTo>
                    <a:cubicBezTo>
                      <a:pt x="241" y="21"/>
                      <a:pt x="199" y="0"/>
                      <a:pt x="140" y="0"/>
                    </a:cubicBez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40" y="309"/>
                    </a:lnTo>
                    <a:lnTo>
                      <a:pt x="148" y="309"/>
                    </a:lnTo>
                    <a:cubicBezTo>
                      <a:pt x="207" y="309"/>
                      <a:pt x="254" y="279"/>
                      <a:pt x="254" y="228"/>
                    </a:cubicBezTo>
                    <a:cubicBezTo>
                      <a:pt x="254" y="174"/>
                      <a:pt x="224" y="152"/>
                      <a:pt x="174" y="148"/>
                    </a:cubicBezTo>
                    <a:close/>
                    <a:moveTo>
                      <a:pt x="102" y="21"/>
                    </a:moveTo>
                    <a:lnTo>
                      <a:pt x="102" y="21"/>
                    </a:lnTo>
                    <a:cubicBezTo>
                      <a:pt x="114" y="21"/>
                      <a:pt x="127" y="21"/>
                      <a:pt x="140" y="26"/>
                    </a:cubicBezTo>
                    <a:cubicBezTo>
                      <a:pt x="161" y="30"/>
                      <a:pt x="174" y="47"/>
                      <a:pt x="174" y="81"/>
                    </a:cubicBezTo>
                    <a:cubicBezTo>
                      <a:pt x="174" y="106"/>
                      <a:pt x="165" y="131"/>
                      <a:pt x="140" y="136"/>
                    </a:cubicBezTo>
                    <a:cubicBezTo>
                      <a:pt x="135" y="136"/>
                      <a:pt x="131" y="140"/>
                      <a:pt x="127" y="140"/>
                    </a:cubicBezTo>
                    <a:lnTo>
                      <a:pt x="102" y="140"/>
                    </a:lnTo>
                    <a:lnTo>
                      <a:pt x="102" y="21"/>
                    </a:lnTo>
                    <a:close/>
                    <a:moveTo>
                      <a:pt x="140" y="288"/>
                    </a:moveTo>
                    <a:lnTo>
                      <a:pt x="140" y="288"/>
                    </a:lnTo>
                    <a:cubicBezTo>
                      <a:pt x="123" y="288"/>
                      <a:pt x="110" y="279"/>
                      <a:pt x="102" y="271"/>
                    </a:cubicBezTo>
                    <a:lnTo>
                      <a:pt x="102" y="157"/>
                    </a:lnTo>
                    <a:lnTo>
                      <a:pt x="127" y="157"/>
                    </a:lnTo>
                    <a:lnTo>
                      <a:pt x="140" y="157"/>
                    </a:lnTo>
                    <a:cubicBezTo>
                      <a:pt x="174" y="165"/>
                      <a:pt x="190" y="190"/>
                      <a:pt x="190" y="228"/>
                    </a:cubicBezTo>
                    <a:cubicBezTo>
                      <a:pt x="190" y="262"/>
                      <a:pt x="174" y="288"/>
                      <a:pt x="140" y="288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70" name="Freeform 13">
                <a:extLst>
                  <a:ext uri="{FF2B5EF4-FFF2-40B4-BE49-F238E27FC236}">
                    <a16:creationId xmlns="" xmlns:a16="http://schemas.microsoft.com/office/drawing/2014/main" id="{1BC64215-C751-4645-A0EE-8DAF52ABE2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778649" y="666268"/>
                <a:ext cx="89658" cy="122864"/>
              </a:xfrm>
              <a:custGeom>
                <a:avLst/>
                <a:gdLst/>
                <a:ahLst/>
                <a:cxnLst>
                  <a:cxn ang="0">
                    <a:pos x="199" y="279"/>
                  </a:cxn>
                  <a:cxn ang="0">
                    <a:pos x="101" y="279"/>
                  </a:cxn>
                  <a:cxn ang="0">
                    <a:pos x="101" y="157"/>
                  </a:cxn>
                  <a:cxn ang="0">
                    <a:pos x="156" y="157"/>
                  </a:cxn>
                  <a:cxn ang="0">
                    <a:pos x="169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69" y="93"/>
                  </a:cxn>
                  <a:cxn ang="0">
                    <a:pos x="156" y="136"/>
                  </a:cxn>
                  <a:cxn ang="0">
                    <a:pos x="101" y="136"/>
                  </a:cxn>
                  <a:cxn ang="0">
                    <a:pos x="101" y="30"/>
                  </a:cxn>
                  <a:cxn ang="0">
                    <a:pos x="194" y="30"/>
                  </a:cxn>
                  <a:cxn ang="0">
                    <a:pos x="207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203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4" y="309"/>
                  </a:cxn>
                  <a:cxn ang="0">
                    <a:pos x="237" y="220"/>
                  </a:cxn>
                  <a:cxn ang="0">
                    <a:pos x="220" y="220"/>
                  </a:cxn>
                  <a:cxn ang="0">
                    <a:pos x="199" y="279"/>
                  </a:cxn>
                </a:cxnLst>
                <a:rect l="0" t="0" r="r" b="b"/>
                <a:pathLst>
                  <a:path w="237" h="309">
                    <a:moveTo>
                      <a:pt x="199" y="279"/>
                    </a:moveTo>
                    <a:lnTo>
                      <a:pt x="101" y="279"/>
                    </a:lnTo>
                    <a:lnTo>
                      <a:pt x="101" y="157"/>
                    </a:lnTo>
                    <a:lnTo>
                      <a:pt x="156" y="157"/>
                    </a:lnTo>
                    <a:lnTo>
                      <a:pt x="169" y="199"/>
                    </a:lnTo>
                    <a:lnTo>
                      <a:pt x="186" y="199"/>
                    </a:lnTo>
                    <a:cubicBezTo>
                      <a:pt x="182" y="182"/>
                      <a:pt x="182" y="165"/>
                      <a:pt x="182" y="144"/>
                    </a:cubicBezTo>
                    <a:cubicBezTo>
                      <a:pt x="182" y="127"/>
                      <a:pt x="182" y="110"/>
                      <a:pt x="186" y="93"/>
                    </a:cubicBezTo>
                    <a:lnTo>
                      <a:pt x="169" y="93"/>
                    </a:lnTo>
                    <a:lnTo>
                      <a:pt x="156" y="136"/>
                    </a:lnTo>
                    <a:lnTo>
                      <a:pt x="101" y="136"/>
                    </a:lnTo>
                    <a:lnTo>
                      <a:pt x="101" y="30"/>
                    </a:lnTo>
                    <a:lnTo>
                      <a:pt x="194" y="30"/>
                    </a:lnTo>
                    <a:lnTo>
                      <a:pt x="207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203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4" y="309"/>
                    </a:lnTo>
                    <a:lnTo>
                      <a:pt x="237" y="220"/>
                    </a:lnTo>
                    <a:lnTo>
                      <a:pt x="220" y="220"/>
                    </a:lnTo>
                    <a:lnTo>
                      <a:pt x="199" y="279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71" name="Freeform 14">
                <a:extLst>
                  <a:ext uri="{FF2B5EF4-FFF2-40B4-BE49-F238E27FC236}">
                    <a16:creationId xmlns="" xmlns:a16="http://schemas.microsoft.com/office/drawing/2014/main" id="{8376A7EB-8327-4B38-8E13-EB613ED841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93211" y="666268"/>
                <a:ext cx="189277" cy="157731"/>
              </a:xfrm>
              <a:custGeom>
                <a:avLst/>
                <a:gdLst/>
                <a:ahLst/>
                <a:cxnLst>
                  <a:cxn ang="0">
                    <a:pos x="444" y="26"/>
                  </a:cxn>
                  <a:cxn ang="0">
                    <a:pos x="490" y="17"/>
                  </a:cxn>
                  <a:cxn ang="0">
                    <a:pos x="490" y="0"/>
                  </a:cxn>
                  <a:cxn ang="0">
                    <a:pos x="338" y="0"/>
                  </a:cxn>
                  <a:cxn ang="0">
                    <a:pos x="338" y="17"/>
                  </a:cxn>
                  <a:cxn ang="0">
                    <a:pos x="380" y="26"/>
                  </a:cxn>
                  <a:cxn ang="0">
                    <a:pos x="380" y="283"/>
                  </a:cxn>
                  <a:cxn ang="0">
                    <a:pos x="275" y="283"/>
                  </a:cxn>
                  <a:cxn ang="0">
                    <a:pos x="275" y="26"/>
                  </a:cxn>
                  <a:cxn ang="0">
                    <a:pos x="317" y="17"/>
                  </a:cxn>
                  <a:cxn ang="0">
                    <a:pos x="317" y="0"/>
                  </a:cxn>
                  <a:cxn ang="0">
                    <a:pos x="169" y="0"/>
                  </a:cxn>
                  <a:cxn ang="0">
                    <a:pos x="169" y="17"/>
                  </a:cxn>
                  <a:cxn ang="0">
                    <a:pos x="211" y="26"/>
                  </a:cxn>
                  <a:cxn ang="0">
                    <a:pos x="211" y="283"/>
                  </a:cxn>
                  <a:cxn ang="0">
                    <a:pos x="106" y="283"/>
                  </a:cxn>
                  <a:cxn ang="0">
                    <a:pos x="106" y="26"/>
                  </a:cxn>
                  <a:cxn ang="0">
                    <a:pos x="148" y="17"/>
                  </a:cxn>
                  <a:cxn ang="0">
                    <a:pos x="148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457" y="309"/>
                  </a:cxn>
                  <a:cxn ang="0">
                    <a:pos x="457" y="398"/>
                  </a:cxn>
                  <a:cxn ang="0">
                    <a:pos x="474" y="398"/>
                  </a:cxn>
                  <a:cxn ang="0">
                    <a:pos x="495" y="283"/>
                  </a:cxn>
                  <a:cxn ang="0">
                    <a:pos x="444" y="283"/>
                  </a:cxn>
                  <a:cxn ang="0">
                    <a:pos x="444" y="26"/>
                  </a:cxn>
                </a:cxnLst>
                <a:rect l="0" t="0" r="r" b="b"/>
                <a:pathLst>
                  <a:path w="495" h="398">
                    <a:moveTo>
                      <a:pt x="444" y="26"/>
                    </a:moveTo>
                    <a:lnTo>
                      <a:pt x="490" y="17"/>
                    </a:lnTo>
                    <a:lnTo>
                      <a:pt x="490" y="0"/>
                    </a:lnTo>
                    <a:lnTo>
                      <a:pt x="338" y="0"/>
                    </a:lnTo>
                    <a:lnTo>
                      <a:pt x="338" y="17"/>
                    </a:lnTo>
                    <a:lnTo>
                      <a:pt x="380" y="26"/>
                    </a:lnTo>
                    <a:lnTo>
                      <a:pt x="380" y="283"/>
                    </a:lnTo>
                    <a:lnTo>
                      <a:pt x="275" y="283"/>
                    </a:lnTo>
                    <a:lnTo>
                      <a:pt x="275" y="26"/>
                    </a:lnTo>
                    <a:lnTo>
                      <a:pt x="317" y="17"/>
                    </a:lnTo>
                    <a:lnTo>
                      <a:pt x="317" y="0"/>
                    </a:lnTo>
                    <a:lnTo>
                      <a:pt x="169" y="0"/>
                    </a:lnTo>
                    <a:lnTo>
                      <a:pt x="169" y="17"/>
                    </a:lnTo>
                    <a:lnTo>
                      <a:pt x="211" y="26"/>
                    </a:lnTo>
                    <a:lnTo>
                      <a:pt x="211" y="283"/>
                    </a:lnTo>
                    <a:lnTo>
                      <a:pt x="106" y="283"/>
                    </a:lnTo>
                    <a:lnTo>
                      <a:pt x="106" y="26"/>
                    </a:lnTo>
                    <a:lnTo>
                      <a:pt x="148" y="17"/>
                    </a:lnTo>
                    <a:lnTo>
                      <a:pt x="148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457" y="309"/>
                    </a:lnTo>
                    <a:lnTo>
                      <a:pt x="457" y="398"/>
                    </a:lnTo>
                    <a:lnTo>
                      <a:pt x="474" y="398"/>
                    </a:lnTo>
                    <a:lnTo>
                      <a:pt x="495" y="283"/>
                    </a:lnTo>
                    <a:lnTo>
                      <a:pt x="444" y="283"/>
                    </a:lnTo>
                    <a:lnTo>
                      <a:pt x="444" y="2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Freeform 15">
                <a:extLst>
                  <a:ext uri="{FF2B5EF4-FFF2-40B4-BE49-F238E27FC236}">
                    <a16:creationId xmlns="" xmlns:a16="http://schemas.microsoft.com/office/drawing/2014/main" id="{07D29E00-DA23-4AB4-B331-DA524612D1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100751" y="666268"/>
                <a:ext cx="91317" cy="122864"/>
              </a:xfrm>
              <a:custGeom>
                <a:avLst/>
                <a:gdLst/>
                <a:ahLst/>
                <a:cxnLst>
                  <a:cxn ang="0">
                    <a:pos x="237" y="220"/>
                  </a:cxn>
                  <a:cxn ang="0">
                    <a:pos x="224" y="220"/>
                  </a:cxn>
                  <a:cxn ang="0">
                    <a:pos x="199" y="279"/>
                  </a:cxn>
                  <a:cxn ang="0">
                    <a:pos x="102" y="279"/>
                  </a:cxn>
                  <a:cxn ang="0">
                    <a:pos x="102" y="157"/>
                  </a:cxn>
                  <a:cxn ang="0">
                    <a:pos x="157" y="157"/>
                  </a:cxn>
                  <a:cxn ang="0">
                    <a:pos x="170" y="199"/>
                  </a:cxn>
                  <a:cxn ang="0">
                    <a:pos x="186" y="199"/>
                  </a:cxn>
                  <a:cxn ang="0">
                    <a:pos x="182" y="144"/>
                  </a:cxn>
                  <a:cxn ang="0">
                    <a:pos x="186" y="93"/>
                  </a:cxn>
                  <a:cxn ang="0">
                    <a:pos x="174" y="93"/>
                  </a:cxn>
                  <a:cxn ang="0">
                    <a:pos x="157" y="136"/>
                  </a:cxn>
                  <a:cxn ang="0">
                    <a:pos x="102" y="136"/>
                  </a:cxn>
                  <a:cxn ang="0">
                    <a:pos x="102" y="30"/>
                  </a:cxn>
                  <a:cxn ang="0">
                    <a:pos x="195" y="30"/>
                  </a:cxn>
                  <a:cxn ang="0">
                    <a:pos x="208" y="81"/>
                  </a:cxn>
                  <a:cxn ang="0">
                    <a:pos x="224" y="81"/>
                  </a:cxn>
                  <a:cxn ang="0">
                    <a:pos x="220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38" y="26"/>
                  </a:cxn>
                  <a:cxn ang="0">
                    <a:pos x="38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37" y="220"/>
                  </a:cxn>
                </a:cxnLst>
                <a:rect l="0" t="0" r="r" b="b"/>
                <a:pathLst>
                  <a:path w="237" h="309">
                    <a:moveTo>
                      <a:pt x="237" y="220"/>
                    </a:moveTo>
                    <a:lnTo>
                      <a:pt x="224" y="220"/>
                    </a:lnTo>
                    <a:lnTo>
                      <a:pt x="199" y="279"/>
                    </a:lnTo>
                    <a:lnTo>
                      <a:pt x="102" y="279"/>
                    </a:lnTo>
                    <a:lnTo>
                      <a:pt x="102" y="157"/>
                    </a:lnTo>
                    <a:lnTo>
                      <a:pt x="157" y="157"/>
                    </a:lnTo>
                    <a:lnTo>
                      <a:pt x="170" y="199"/>
                    </a:lnTo>
                    <a:lnTo>
                      <a:pt x="186" y="199"/>
                    </a:lnTo>
                    <a:cubicBezTo>
                      <a:pt x="186" y="182"/>
                      <a:pt x="182" y="165"/>
                      <a:pt x="182" y="144"/>
                    </a:cubicBezTo>
                    <a:cubicBezTo>
                      <a:pt x="182" y="127"/>
                      <a:pt x="186" y="110"/>
                      <a:pt x="186" y="93"/>
                    </a:cubicBezTo>
                    <a:lnTo>
                      <a:pt x="174" y="93"/>
                    </a:lnTo>
                    <a:lnTo>
                      <a:pt x="157" y="136"/>
                    </a:lnTo>
                    <a:lnTo>
                      <a:pt x="102" y="136"/>
                    </a:lnTo>
                    <a:lnTo>
                      <a:pt x="102" y="30"/>
                    </a:lnTo>
                    <a:lnTo>
                      <a:pt x="195" y="30"/>
                    </a:lnTo>
                    <a:lnTo>
                      <a:pt x="208" y="81"/>
                    </a:lnTo>
                    <a:lnTo>
                      <a:pt x="224" y="81"/>
                    </a:lnTo>
                    <a:lnTo>
                      <a:pt x="220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38" y="26"/>
                    </a:lnTo>
                    <a:lnTo>
                      <a:pt x="38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37" y="2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73" name="Freeform 16">
                <a:extLst>
                  <a:ext uri="{FF2B5EF4-FFF2-40B4-BE49-F238E27FC236}">
                    <a16:creationId xmlns="" xmlns:a16="http://schemas.microsoft.com/office/drawing/2014/main" id="{5D73C62B-ABC0-49BC-A84B-017014F5E3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216974" y="666268"/>
                <a:ext cx="129505" cy="122864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6" y="26"/>
                  </a:cxn>
                  <a:cxn ang="0">
                    <a:pos x="236" y="136"/>
                  </a:cxn>
                  <a:cxn ang="0">
                    <a:pos x="105" y="136"/>
                  </a:cxn>
                  <a:cxn ang="0">
                    <a:pos x="105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5" y="283"/>
                  </a:cxn>
                  <a:cxn ang="0">
                    <a:pos x="105" y="161"/>
                  </a:cxn>
                  <a:cxn ang="0">
                    <a:pos x="236" y="161"/>
                  </a:cxn>
                  <a:cxn ang="0">
                    <a:pos x="236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6" y="26"/>
                    </a:lnTo>
                    <a:lnTo>
                      <a:pt x="236" y="136"/>
                    </a:lnTo>
                    <a:lnTo>
                      <a:pt x="105" y="136"/>
                    </a:lnTo>
                    <a:lnTo>
                      <a:pt x="105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5" y="283"/>
                    </a:lnTo>
                    <a:lnTo>
                      <a:pt x="105" y="161"/>
                    </a:lnTo>
                    <a:lnTo>
                      <a:pt x="236" y="161"/>
                    </a:lnTo>
                    <a:lnTo>
                      <a:pt x="236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Freeform 17">
                <a:extLst>
                  <a:ext uri="{FF2B5EF4-FFF2-40B4-BE49-F238E27FC236}">
                    <a16:creationId xmlns="" xmlns:a16="http://schemas.microsoft.com/office/drawing/2014/main" id="{B6A2B324-2B36-4B7E-8D74-42981AFDB0E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368063" y="666268"/>
                <a:ext cx="131166" cy="122864"/>
              </a:xfrm>
              <a:custGeom>
                <a:avLst/>
                <a:gdLst/>
                <a:ahLst/>
                <a:cxnLst>
                  <a:cxn ang="0">
                    <a:pos x="190" y="17"/>
                  </a:cxn>
                  <a:cxn ang="0">
                    <a:pos x="237" y="26"/>
                  </a:cxn>
                  <a:cxn ang="0">
                    <a:pos x="237" y="30"/>
                  </a:cxn>
                  <a:cxn ang="0">
                    <a:pos x="106" y="237"/>
                  </a:cxn>
                  <a:cxn ang="0">
                    <a:pos x="106" y="26"/>
                  </a:cxn>
                  <a:cxn ang="0">
                    <a:pos x="152" y="17"/>
                  </a:cxn>
                  <a:cxn ang="0">
                    <a:pos x="152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2" y="26"/>
                  </a:cxn>
                  <a:cxn ang="0">
                    <a:pos x="42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152" y="309"/>
                  </a:cxn>
                  <a:cxn ang="0">
                    <a:pos x="152" y="292"/>
                  </a:cxn>
                  <a:cxn ang="0">
                    <a:pos x="106" y="283"/>
                  </a:cxn>
                  <a:cxn ang="0">
                    <a:pos x="106" y="279"/>
                  </a:cxn>
                  <a:cxn ang="0">
                    <a:pos x="237" y="72"/>
                  </a:cxn>
                  <a:cxn ang="0">
                    <a:pos x="237" y="283"/>
                  </a:cxn>
                  <a:cxn ang="0">
                    <a:pos x="190" y="292"/>
                  </a:cxn>
                  <a:cxn ang="0">
                    <a:pos x="190" y="309"/>
                  </a:cxn>
                  <a:cxn ang="0">
                    <a:pos x="342" y="309"/>
                  </a:cxn>
                  <a:cxn ang="0">
                    <a:pos x="342" y="292"/>
                  </a:cxn>
                  <a:cxn ang="0">
                    <a:pos x="300" y="283"/>
                  </a:cxn>
                  <a:cxn ang="0">
                    <a:pos x="300" y="26"/>
                  </a:cxn>
                  <a:cxn ang="0">
                    <a:pos x="342" y="17"/>
                  </a:cxn>
                  <a:cxn ang="0">
                    <a:pos x="342" y="0"/>
                  </a:cxn>
                  <a:cxn ang="0">
                    <a:pos x="190" y="0"/>
                  </a:cxn>
                  <a:cxn ang="0">
                    <a:pos x="190" y="17"/>
                  </a:cxn>
                </a:cxnLst>
                <a:rect l="0" t="0" r="r" b="b"/>
                <a:pathLst>
                  <a:path w="342" h="309">
                    <a:moveTo>
                      <a:pt x="190" y="17"/>
                    </a:moveTo>
                    <a:lnTo>
                      <a:pt x="237" y="26"/>
                    </a:lnTo>
                    <a:lnTo>
                      <a:pt x="237" y="30"/>
                    </a:lnTo>
                    <a:lnTo>
                      <a:pt x="106" y="237"/>
                    </a:lnTo>
                    <a:lnTo>
                      <a:pt x="106" y="26"/>
                    </a:lnTo>
                    <a:lnTo>
                      <a:pt x="152" y="17"/>
                    </a:lnTo>
                    <a:lnTo>
                      <a:pt x="152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2" y="26"/>
                    </a:lnTo>
                    <a:lnTo>
                      <a:pt x="42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152" y="309"/>
                    </a:lnTo>
                    <a:lnTo>
                      <a:pt x="152" y="292"/>
                    </a:lnTo>
                    <a:lnTo>
                      <a:pt x="106" y="283"/>
                    </a:lnTo>
                    <a:lnTo>
                      <a:pt x="106" y="279"/>
                    </a:lnTo>
                    <a:lnTo>
                      <a:pt x="237" y="72"/>
                    </a:lnTo>
                    <a:lnTo>
                      <a:pt x="237" y="283"/>
                    </a:lnTo>
                    <a:lnTo>
                      <a:pt x="190" y="292"/>
                    </a:lnTo>
                    <a:lnTo>
                      <a:pt x="190" y="309"/>
                    </a:lnTo>
                    <a:lnTo>
                      <a:pt x="342" y="309"/>
                    </a:lnTo>
                    <a:lnTo>
                      <a:pt x="342" y="292"/>
                    </a:lnTo>
                    <a:lnTo>
                      <a:pt x="300" y="283"/>
                    </a:lnTo>
                    <a:lnTo>
                      <a:pt x="300" y="26"/>
                    </a:lnTo>
                    <a:lnTo>
                      <a:pt x="342" y="17"/>
                    </a:lnTo>
                    <a:lnTo>
                      <a:pt x="342" y="0"/>
                    </a:lnTo>
                    <a:lnTo>
                      <a:pt x="190" y="0"/>
                    </a:lnTo>
                    <a:lnTo>
                      <a:pt x="190" y="1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75" name="Freeform 18">
                <a:extLst>
                  <a:ext uri="{FF2B5EF4-FFF2-40B4-BE49-F238E27FC236}">
                    <a16:creationId xmlns="" xmlns:a16="http://schemas.microsoft.com/office/drawing/2014/main" id="{0AA402C9-4519-4D08-9B6C-8E5172F9A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519152" y="666268"/>
                <a:ext cx="92978" cy="122864"/>
              </a:xfrm>
              <a:custGeom>
                <a:avLst/>
                <a:gdLst/>
                <a:ahLst/>
                <a:cxnLst>
                  <a:cxn ang="0">
                    <a:pos x="225" y="220"/>
                  </a:cxn>
                  <a:cxn ang="0">
                    <a:pos x="199" y="279"/>
                  </a:cxn>
                  <a:cxn ang="0">
                    <a:pos x="106" y="279"/>
                  </a:cxn>
                  <a:cxn ang="0">
                    <a:pos x="106" y="157"/>
                  </a:cxn>
                  <a:cxn ang="0">
                    <a:pos x="161" y="157"/>
                  </a:cxn>
                  <a:cxn ang="0">
                    <a:pos x="174" y="199"/>
                  </a:cxn>
                  <a:cxn ang="0">
                    <a:pos x="187" y="199"/>
                  </a:cxn>
                  <a:cxn ang="0">
                    <a:pos x="187" y="144"/>
                  </a:cxn>
                  <a:cxn ang="0">
                    <a:pos x="187" y="93"/>
                  </a:cxn>
                  <a:cxn ang="0">
                    <a:pos x="174" y="93"/>
                  </a:cxn>
                  <a:cxn ang="0">
                    <a:pos x="161" y="136"/>
                  </a:cxn>
                  <a:cxn ang="0">
                    <a:pos x="106" y="136"/>
                  </a:cxn>
                  <a:cxn ang="0">
                    <a:pos x="106" y="30"/>
                  </a:cxn>
                  <a:cxn ang="0">
                    <a:pos x="195" y="30"/>
                  </a:cxn>
                  <a:cxn ang="0">
                    <a:pos x="212" y="81"/>
                  </a:cxn>
                  <a:cxn ang="0">
                    <a:pos x="225" y="81"/>
                  </a:cxn>
                  <a:cxn ang="0">
                    <a:pos x="225" y="0"/>
                  </a:cxn>
                  <a:cxn ang="0">
                    <a:pos x="0" y="0"/>
                  </a:cxn>
                  <a:cxn ang="0">
                    <a:pos x="0" y="17"/>
                  </a:cxn>
                  <a:cxn ang="0">
                    <a:pos x="43" y="26"/>
                  </a:cxn>
                  <a:cxn ang="0">
                    <a:pos x="43" y="283"/>
                  </a:cxn>
                  <a:cxn ang="0">
                    <a:pos x="0" y="292"/>
                  </a:cxn>
                  <a:cxn ang="0">
                    <a:pos x="0" y="309"/>
                  </a:cxn>
                  <a:cxn ang="0">
                    <a:pos x="229" y="309"/>
                  </a:cxn>
                  <a:cxn ang="0">
                    <a:pos x="241" y="220"/>
                  </a:cxn>
                  <a:cxn ang="0">
                    <a:pos x="225" y="220"/>
                  </a:cxn>
                </a:cxnLst>
                <a:rect l="0" t="0" r="r" b="b"/>
                <a:pathLst>
                  <a:path w="241" h="309">
                    <a:moveTo>
                      <a:pt x="225" y="220"/>
                    </a:moveTo>
                    <a:lnTo>
                      <a:pt x="199" y="279"/>
                    </a:lnTo>
                    <a:lnTo>
                      <a:pt x="106" y="279"/>
                    </a:lnTo>
                    <a:lnTo>
                      <a:pt x="106" y="157"/>
                    </a:lnTo>
                    <a:lnTo>
                      <a:pt x="161" y="157"/>
                    </a:lnTo>
                    <a:lnTo>
                      <a:pt x="174" y="199"/>
                    </a:lnTo>
                    <a:lnTo>
                      <a:pt x="187" y="199"/>
                    </a:lnTo>
                    <a:lnTo>
                      <a:pt x="187" y="144"/>
                    </a:lnTo>
                    <a:lnTo>
                      <a:pt x="187" y="93"/>
                    </a:lnTo>
                    <a:lnTo>
                      <a:pt x="174" y="93"/>
                    </a:lnTo>
                    <a:lnTo>
                      <a:pt x="161" y="136"/>
                    </a:lnTo>
                    <a:lnTo>
                      <a:pt x="106" y="136"/>
                    </a:lnTo>
                    <a:lnTo>
                      <a:pt x="106" y="30"/>
                    </a:lnTo>
                    <a:lnTo>
                      <a:pt x="195" y="30"/>
                    </a:lnTo>
                    <a:lnTo>
                      <a:pt x="212" y="81"/>
                    </a:lnTo>
                    <a:lnTo>
                      <a:pt x="225" y="81"/>
                    </a:lnTo>
                    <a:lnTo>
                      <a:pt x="225" y="0"/>
                    </a:lnTo>
                    <a:lnTo>
                      <a:pt x="0" y="0"/>
                    </a:lnTo>
                    <a:lnTo>
                      <a:pt x="0" y="17"/>
                    </a:lnTo>
                    <a:lnTo>
                      <a:pt x="43" y="26"/>
                    </a:lnTo>
                    <a:lnTo>
                      <a:pt x="43" y="283"/>
                    </a:lnTo>
                    <a:lnTo>
                      <a:pt x="0" y="292"/>
                    </a:lnTo>
                    <a:lnTo>
                      <a:pt x="0" y="309"/>
                    </a:lnTo>
                    <a:lnTo>
                      <a:pt x="229" y="309"/>
                    </a:lnTo>
                    <a:lnTo>
                      <a:pt x="241" y="220"/>
                    </a:lnTo>
                    <a:lnTo>
                      <a:pt x="225" y="22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Freeform 19">
                <a:extLst>
                  <a:ext uri="{FF2B5EF4-FFF2-40B4-BE49-F238E27FC236}">
                    <a16:creationId xmlns="" xmlns:a16="http://schemas.microsoft.com/office/drawing/2014/main" id="{51CA5231-E59E-4F85-B209-928948FC276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0735481" y="300997"/>
                <a:ext cx="240746" cy="303839"/>
              </a:xfrm>
              <a:custGeom>
                <a:avLst/>
                <a:gdLst/>
                <a:ahLst/>
                <a:cxnLst>
                  <a:cxn ang="0">
                    <a:pos x="317" y="774"/>
                  </a:cxn>
                  <a:cxn ang="0">
                    <a:pos x="587" y="668"/>
                  </a:cxn>
                  <a:cxn ang="0">
                    <a:pos x="630" y="85"/>
                  </a:cxn>
                  <a:cxn ang="0">
                    <a:pos x="317" y="0"/>
                  </a:cxn>
                  <a:cxn ang="0">
                    <a:pos x="160" y="42"/>
                  </a:cxn>
                  <a:cxn ang="0">
                    <a:pos x="0" y="85"/>
                  </a:cxn>
                  <a:cxn ang="0">
                    <a:pos x="42" y="668"/>
                  </a:cxn>
                  <a:cxn ang="0">
                    <a:pos x="160" y="715"/>
                  </a:cxn>
                  <a:cxn ang="0">
                    <a:pos x="317" y="774"/>
                  </a:cxn>
                  <a:cxn ang="0">
                    <a:pos x="160" y="76"/>
                  </a:cxn>
                  <a:cxn ang="0">
                    <a:pos x="160" y="76"/>
                  </a:cxn>
                  <a:cxn ang="0">
                    <a:pos x="224" y="59"/>
                  </a:cxn>
                  <a:cxn ang="0">
                    <a:pos x="160" y="161"/>
                  </a:cxn>
                  <a:cxn ang="0">
                    <a:pos x="105" y="258"/>
                  </a:cxn>
                  <a:cxn ang="0">
                    <a:pos x="105" y="186"/>
                  </a:cxn>
                  <a:cxn ang="0">
                    <a:pos x="101" y="93"/>
                  </a:cxn>
                  <a:cxn ang="0">
                    <a:pos x="160" y="76"/>
                  </a:cxn>
                  <a:cxn ang="0">
                    <a:pos x="76" y="643"/>
                  </a:cxn>
                  <a:cxn ang="0">
                    <a:pos x="76" y="643"/>
                  </a:cxn>
                  <a:cxn ang="0">
                    <a:pos x="55" y="385"/>
                  </a:cxn>
                  <a:cxn ang="0">
                    <a:pos x="114" y="389"/>
                  </a:cxn>
                  <a:cxn ang="0">
                    <a:pos x="160" y="313"/>
                  </a:cxn>
                  <a:cxn ang="0">
                    <a:pos x="228" y="203"/>
                  </a:cxn>
                  <a:cxn ang="0">
                    <a:pos x="224" y="275"/>
                  </a:cxn>
                  <a:cxn ang="0">
                    <a:pos x="228" y="397"/>
                  </a:cxn>
                  <a:cxn ang="0">
                    <a:pos x="317" y="402"/>
                  </a:cxn>
                  <a:cxn ang="0">
                    <a:pos x="317" y="34"/>
                  </a:cxn>
                  <a:cxn ang="0">
                    <a:pos x="596" y="110"/>
                  </a:cxn>
                  <a:cxn ang="0">
                    <a:pos x="575" y="385"/>
                  </a:cxn>
                  <a:cxn ang="0">
                    <a:pos x="494" y="389"/>
                  </a:cxn>
                  <a:cxn ang="0">
                    <a:pos x="507" y="156"/>
                  </a:cxn>
                  <a:cxn ang="0">
                    <a:pos x="410" y="140"/>
                  </a:cxn>
                  <a:cxn ang="0">
                    <a:pos x="406" y="397"/>
                  </a:cxn>
                  <a:cxn ang="0">
                    <a:pos x="317" y="402"/>
                  </a:cxn>
                  <a:cxn ang="0">
                    <a:pos x="317" y="736"/>
                  </a:cxn>
                  <a:cxn ang="0">
                    <a:pos x="160" y="676"/>
                  </a:cxn>
                  <a:cxn ang="0">
                    <a:pos x="76" y="643"/>
                  </a:cxn>
                </a:cxnLst>
                <a:rect l="0" t="0" r="r" b="b"/>
                <a:pathLst>
                  <a:path w="630" h="774">
                    <a:moveTo>
                      <a:pt x="317" y="774"/>
                    </a:moveTo>
                    <a:lnTo>
                      <a:pt x="587" y="668"/>
                    </a:lnTo>
                    <a:lnTo>
                      <a:pt x="630" y="85"/>
                    </a:lnTo>
                    <a:lnTo>
                      <a:pt x="317" y="0"/>
                    </a:lnTo>
                    <a:lnTo>
                      <a:pt x="160" y="42"/>
                    </a:lnTo>
                    <a:lnTo>
                      <a:pt x="0" y="85"/>
                    </a:lnTo>
                    <a:lnTo>
                      <a:pt x="42" y="668"/>
                    </a:lnTo>
                    <a:lnTo>
                      <a:pt x="160" y="715"/>
                    </a:lnTo>
                    <a:lnTo>
                      <a:pt x="317" y="774"/>
                    </a:lnTo>
                    <a:close/>
                    <a:moveTo>
                      <a:pt x="160" y="76"/>
                    </a:moveTo>
                    <a:lnTo>
                      <a:pt x="160" y="76"/>
                    </a:lnTo>
                    <a:lnTo>
                      <a:pt x="224" y="59"/>
                    </a:lnTo>
                    <a:lnTo>
                      <a:pt x="160" y="161"/>
                    </a:lnTo>
                    <a:lnTo>
                      <a:pt x="105" y="258"/>
                    </a:lnTo>
                    <a:lnTo>
                      <a:pt x="105" y="186"/>
                    </a:lnTo>
                    <a:lnTo>
                      <a:pt x="101" y="93"/>
                    </a:lnTo>
                    <a:lnTo>
                      <a:pt x="160" y="76"/>
                    </a:lnTo>
                    <a:close/>
                    <a:moveTo>
                      <a:pt x="76" y="643"/>
                    </a:moveTo>
                    <a:lnTo>
                      <a:pt x="76" y="643"/>
                    </a:lnTo>
                    <a:lnTo>
                      <a:pt x="55" y="385"/>
                    </a:lnTo>
                    <a:lnTo>
                      <a:pt x="114" y="389"/>
                    </a:lnTo>
                    <a:lnTo>
                      <a:pt x="160" y="313"/>
                    </a:lnTo>
                    <a:lnTo>
                      <a:pt x="228" y="203"/>
                    </a:lnTo>
                    <a:lnTo>
                      <a:pt x="224" y="275"/>
                    </a:lnTo>
                    <a:lnTo>
                      <a:pt x="228" y="397"/>
                    </a:lnTo>
                    <a:lnTo>
                      <a:pt x="317" y="402"/>
                    </a:lnTo>
                    <a:lnTo>
                      <a:pt x="317" y="34"/>
                    </a:lnTo>
                    <a:lnTo>
                      <a:pt x="596" y="110"/>
                    </a:lnTo>
                    <a:lnTo>
                      <a:pt x="575" y="385"/>
                    </a:lnTo>
                    <a:lnTo>
                      <a:pt x="494" y="389"/>
                    </a:lnTo>
                    <a:lnTo>
                      <a:pt x="507" y="156"/>
                    </a:lnTo>
                    <a:lnTo>
                      <a:pt x="410" y="140"/>
                    </a:lnTo>
                    <a:lnTo>
                      <a:pt x="406" y="397"/>
                    </a:lnTo>
                    <a:lnTo>
                      <a:pt x="317" y="402"/>
                    </a:lnTo>
                    <a:lnTo>
                      <a:pt x="317" y="736"/>
                    </a:lnTo>
                    <a:lnTo>
                      <a:pt x="160" y="676"/>
                    </a:lnTo>
                    <a:lnTo>
                      <a:pt x="76" y="64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7" name="TextBox 46"/>
            <p:cNvSpPr txBox="1"/>
            <p:nvPr/>
          </p:nvSpPr>
          <p:spPr>
            <a:xfrm>
              <a:off x="10851723" y="628035"/>
              <a:ext cx="147939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050" b="1" dirty="0" smtClean="0">
                  <a:solidFill>
                    <a:srgbClr val="00206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сновано в 1930</a:t>
              </a:r>
              <a:endParaRPr lang="ru-RU" sz="10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79895" name="Picture 23" descr="http://qrcoder.ru/code/?https%3A%2F%2Fshop.prosv.ru%2Fsearch%3Fq%3D%25D1%258D%25D1%2582%25D0%25B0%25D0%25BB%25D0%25BE%25D0%25BD%23%2Forderby%3D1%26q%3D%25D1%258D%25D1%2582%25D0%25B0%25D0%25BB%25D0%25BE%25D0%25BD%26sFilters%3D21%2156334%3B13%2181288%3B&amp;4&amp;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6656" y="3897102"/>
            <a:ext cx="2551189" cy="25511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338378" y="263010"/>
            <a:ext cx="10183873" cy="4678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Серия «Функциональная </a:t>
            </a: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грамотность </a:t>
            </a:r>
          </a:p>
        </p:txBody>
      </p:sp>
    </p:spTree>
    <p:extLst>
      <p:ext uri="{BB962C8B-B14F-4D97-AF65-F5344CB8AC3E}">
        <p14:creationId xmlns:p14="http://schemas.microsoft.com/office/powerpoint/2010/main" val="1464862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3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7242734" y="1456955"/>
            <a:ext cx="3936436" cy="3133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endParaRPr lang="ru-RU" sz="1400" dirty="0" smtClean="0">
              <a:solidFill>
                <a:schemeClr val="tx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9" name="Группа 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295718" y="3082652"/>
            <a:ext cx="1160513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/>
              <a:t>Шкала перевода баллов ЕГЭ</a:t>
            </a:r>
          </a:p>
          <a:p>
            <a:r>
              <a:rPr lang="ru-RU" sz="3200" dirty="0" smtClean="0">
                <a:hlinkClick r:id="rId9"/>
              </a:rPr>
              <a:t>https</a:t>
            </a:r>
            <a:r>
              <a:rPr lang="ru-RU" sz="3200" dirty="0">
                <a:hlinkClick r:id="rId9"/>
              </a:rPr>
              <a:t>://</a:t>
            </a:r>
            <a:r>
              <a:rPr lang="ru-RU" sz="3200" dirty="0" smtClean="0">
                <a:hlinkClick r:id="rId9"/>
              </a:rPr>
              <a:t>4ege.ru/novosti-ege/4023-shkala-perevoda-ballov-ege.html</a:t>
            </a:r>
            <a:r>
              <a:rPr lang="en-US" sz="3200" dirty="0" smtClean="0"/>
              <a:t> </a:t>
            </a:r>
            <a:endParaRPr lang="ru-RU" sz="3200" dirty="0"/>
          </a:p>
        </p:txBody>
      </p:sp>
    </p:spTree>
    <p:extLst>
      <p:ext uri="{BB962C8B-B14F-4D97-AF65-F5344CB8AC3E}">
        <p14:creationId xmlns:p14="http://schemas.microsoft.com/office/powerpoint/2010/main" val="3669621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1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Object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2024716" y="157264"/>
            <a:ext cx="602261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Международный мониторинг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3</a:t>
            </a:fld>
            <a:endParaRPr lang="ru-RU" dirty="0"/>
          </a:p>
        </p:txBody>
      </p:sp>
      <p:pic>
        <p:nvPicPr>
          <p:cNvPr id="24" name="Picture 2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880" y="2838734"/>
            <a:ext cx="1602414" cy="160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204715" y="1596788"/>
            <a:ext cx="96626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 err="1">
                <a:solidFill>
                  <a:srgbClr val="FF0000"/>
                </a:solidFill>
              </a:rPr>
              <a:t>P</a:t>
            </a:r>
            <a:r>
              <a:rPr lang="en-US" sz="3600" dirty="0" err="1"/>
              <a:t>rogramme</a:t>
            </a:r>
            <a:r>
              <a:rPr lang="en-US" sz="3600" dirty="0"/>
              <a:t> for </a:t>
            </a:r>
            <a:r>
              <a:rPr lang="en-US" sz="3600" b="1" dirty="0">
                <a:solidFill>
                  <a:srgbClr val="FF0000"/>
                </a:solidFill>
              </a:rPr>
              <a:t>I</a:t>
            </a:r>
            <a:r>
              <a:rPr lang="en-US" sz="3600" dirty="0"/>
              <a:t>nternational </a:t>
            </a:r>
            <a:r>
              <a:rPr lang="en-US" sz="3600" b="1" dirty="0">
                <a:solidFill>
                  <a:srgbClr val="FF0000"/>
                </a:solidFill>
              </a:rPr>
              <a:t>S</a:t>
            </a:r>
            <a:r>
              <a:rPr lang="en-US" sz="3600" dirty="0"/>
              <a:t>tudent </a:t>
            </a:r>
            <a:r>
              <a:rPr lang="en-US" sz="3600" b="1" dirty="0">
                <a:solidFill>
                  <a:srgbClr val="FF0000"/>
                </a:solidFill>
              </a:rPr>
              <a:t>A</a:t>
            </a:r>
            <a:r>
              <a:rPr lang="en-US" sz="3600" dirty="0"/>
              <a:t>ssessment</a:t>
            </a:r>
            <a:endParaRPr lang="ru-RU" sz="3600" dirty="0"/>
          </a:p>
        </p:txBody>
      </p:sp>
      <p:pic>
        <p:nvPicPr>
          <p:cNvPr id="26" name="Picture 4"/>
          <p:cNvPicPr>
            <a:picLocks noChangeAspect="1" noChangeArrowheads="1"/>
          </p:cNvPicPr>
          <p:nvPr/>
        </p:nvPicPr>
        <p:blipFill>
          <a:blip r:embed="rId8" cstate="print"/>
          <a:srcRect t="11657" r="2173" b="5516"/>
          <a:stretch>
            <a:fillRect/>
          </a:stretch>
        </p:blipFill>
        <p:spPr bwMode="auto">
          <a:xfrm>
            <a:off x="400083" y="2405554"/>
            <a:ext cx="7077968" cy="2562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8" name="Прямая соединительная линия 7"/>
          <p:cNvCxnSpPr/>
          <p:nvPr/>
        </p:nvCxnSpPr>
        <p:spPr>
          <a:xfrm>
            <a:off x="5377218" y="2838734"/>
            <a:ext cx="1815152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951630" y="3242544"/>
            <a:ext cx="1337480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3666272" y="3242544"/>
            <a:ext cx="1850791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654967" y="3562066"/>
            <a:ext cx="1105594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1951630" y="3562066"/>
            <a:ext cx="1714642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3939067" y="3930555"/>
            <a:ext cx="3253303" cy="0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/>
        </p:nvCxnSpPr>
        <p:spPr>
          <a:xfrm flipV="1">
            <a:off x="654967" y="4285397"/>
            <a:ext cx="1542323" cy="13648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V="1">
            <a:off x="3002507" y="4285397"/>
            <a:ext cx="3092906" cy="13648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6284794" y="4285397"/>
            <a:ext cx="907576" cy="13648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654967" y="4694830"/>
            <a:ext cx="3866778" cy="13648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Рисунок 56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58" name="Группа 57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59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6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8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8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0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5" name="Прямоугольник 34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4367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Прямоугольник 30"/>
          <p:cNvSpPr/>
          <p:nvPr/>
        </p:nvSpPr>
        <p:spPr>
          <a:xfrm>
            <a:off x="7242734" y="1456955"/>
            <a:ext cx="3936436" cy="313387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marL="285750" indent="-285750">
              <a:lnSpc>
                <a:spcPct val="110000"/>
              </a:lnSpc>
              <a:spcBef>
                <a:spcPts val="1600"/>
              </a:spcBef>
              <a:buBlip>
                <a:blip r:embed="rId7"/>
              </a:buBlip>
              <a:defRPr/>
            </a:pPr>
            <a:endParaRPr lang="ru-RU" sz="1400" dirty="0" smtClean="0">
              <a:solidFill>
                <a:schemeClr val="tx1"/>
              </a:solidFill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sp>
        <p:nvSpPr>
          <p:cNvPr id="35" name="Номер слайда 8"/>
          <p:cNvSpPr txBox="1">
            <a:spLocks/>
          </p:cNvSpPr>
          <p:nvPr/>
        </p:nvSpPr>
        <p:spPr>
          <a:xfrm>
            <a:off x="8763000" y="65087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endParaRPr lang="ru-RU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15" name="AutoShape 4"/>
          <p:cNvSpPr>
            <a:spLocks noChangeAspect="1" noChangeArrowheads="1" noTextEdit="1"/>
          </p:cNvSpPr>
          <p:nvPr/>
        </p:nvSpPr>
        <p:spPr bwMode="auto">
          <a:xfrm>
            <a:off x="5844301" y="1808388"/>
            <a:ext cx="918665" cy="3170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116" name="Рисунок 11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pic>
        <p:nvPicPr>
          <p:cNvPr id="45" name="Picture 2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3617" y="3501852"/>
            <a:ext cx="1916312" cy="1916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50375" y="2386376"/>
            <a:ext cx="1145047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5400" dirty="0" smtClean="0">
                <a:solidFill>
                  <a:srgbClr val="002060"/>
                </a:solidFill>
                <a:latin typeface="Monotype Corsiva" panose="03010101010201010101" pitchFamily="66" charset="0"/>
              </a:rPr>
              <a:t>И в просвещении быть с веком наравне…</a:t>
            </a:r>
          </a:p>
          <a:p>
            <a:r>
              <a:rPr lang="ru-RU" sz="5400" dirty="0" smtClean="0">
                <a:solidFill>
                  <a:srgbClr val="002060"/>
                </a:solidFill>
                <a:latin typeface="Monotype Corsiva" panose="03010101010201010101" pitchFamily="66" charset="0"/>
              </a:rPr>
              <a:t>А. С. Пушкин</a:t>
            </a:r>
            <a:endParaRPr lang="ru-RU" sz="5400" dirty="0">
              <a:solidFill>
                <a:srgbClr val="002060"/>
              </a:solidFill>
              <a:latin typeface="Monotype Corsiva" panose="03010101010201010101" pitchFamily="66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10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9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628999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5"/>
          <p:cNvSpPr>
            <a:spLocks noChangeArrowheads="1"/>
          </p:cNvSpPr>
          <p:nvPr/>
        </p:nvSpPr>
        <p:spPr bwMode="auto">
          <a:xfrm>
            <a:off x="-1" y="8533"/>
            <a:ext cx="12192001" cy="6849467"/>
          </a:xfrm>
          <a:prstGeom prst="rect">
            <a:avLst/>
          </a:prstGeom>
          <a:solidFill>
            <a:srgbClr val="F0F8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96" name="Прямоугольник 95"/>
          <p:cNvSpPr/>
          <p:nvPr/>
        </p:nvSpPr>
        <p:spPr>
          <a:xfrm>
            <a:off x="186182" y="4101075"/>
            <a:ext cx="11819633" cy="211223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00" dirty="0"/>
          </a:p>
        </p:txBody>
      </p:sp>
      <p:sp>
        <p:nvSpPr>
          <p:cNvPr id="29" name="Rectangle 7"/>
          <p:cNvSpPr>
            <a:spLocks noChangeArrowheads="1"/>
          </p:cNvSpPr>
          <p:nvPr/>
        </p:nvSpPr>
        <p:spPr bwMode="auto">
          <a:xfrm>
            <a:off x="7573455" y="2669879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0" name="Rectangle 8"/>
          <p:cNvSpPr>
            <a:spLocks noChangeArrowheads="1"/>
          </p:cNvSpPr>
          <p:nvPr/>
        </p:nvSpPr>
        <p:spPr bwMode="auto">
          <a:xfrm>
            <a:off x="4618544" y="203633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1" name="Rectangle 9"/>
          <p:cNvSpPr>
            <a:spLocks noChangeArrowheads="1"/>
          </p:cNvSpPr>
          <p:nvPr/>
        </p:nvSpPr>
        <p:spPr bwMode="auto">
          <a:xfrm>
            <a:off x="10528363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2" name="Rectangle 10"/>
          <p:cNvSpPr>
            <a:spLocks noChangeArrowheads="1"/>
          </p:cNvSpPr>
          <p:nvPr/>
        </p:nvSpPr>
        <p:spPr bwMode="auto">
          <a:xfrm>
            <a:off x="7573455" y="1436757"/>
            <a:ext cx="1477453" cy="1233124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3" name="Rectangle 11"/>
          <p:cNvSpPr>
            <a:spLocks noChangeArrowheads="1"/>
          </p:cNvSpPr>
          <p:nvPr/>
        </p:nvSpPr>
        <p:spPr bwMode="auto">
          <a:xfrm>
            <a:off x="3141091" y="203633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4" name="Rectangle 12"/>
          <p:cNvSpPr>
            <a:spLocks noChangeArrowheads="1"/>
          </p:cNvSpPr>
          <p:nvPr/>
        </p:nvSpPr>
        <p:spPr bwMode="auto">
          <a:xfrm>
            <a:off x="6096002" y="203633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5" name="Rectangle 13"/>
          <p:cNvSpPr>
            <a:spLocks noChangeArrowheads="1"/>
          </p:cNvSpPr>
          <p:nvPr/>
        </p:nvSpPr>
        <p:spPr bwMode="auto">
          <a:xfrm>
            <a:off x="1052836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6" name="Rectangle 14"/>
          <p:cNvSpPr>
            <a:spLocks noChangeArrowheads="1"/>
          </p:cNvSpPr>
          <p:nvPr/>
        </p:nvSpPr>
        <p:spPr bwMode="auto">
          <a:xfrm>
            <a:off x="9050908" y="1436757"/>
            <a:ext cx="1477453" cy="1233124"/>
          </a:xfrm>
          <a:prstGeom prst="rect">
            <a:avLst/>
          </a:prstGeom>
          <a:solidFill>
            <a:srgbClr val="4383D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7" name="Rectangle 15"/>
          <p:cNvSpPr>
            <a:spLocks noChangeArrowheads="1"/>
          </p:cNvSpPr>
          <p:nvPr/>
        </p:nvSpPr>
        <p:spPr bwMode="auto">
          <a:xfrm>
            <a:off x="186183" y="203633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8" name="Rectangle 16"/>
          <p:cNvSpPr>
            <a:spLocks noChangeArrowheads="1"/>
          </p:cNvSpPr>
          <p:nvPr/>
        </p:nvSpPr>
        <p:spPr bwMode="auto">
          <a:xfrm>
            <a:off x="7573455" y="203633"/>
            <a:ext cx="2954908" cy="1233124"/>
          </a:xfrm>
          <a:prstGeom prst="rect">
            <a:avLst/>
          </a:prstGeom>
          <a:solidFill>
            <a:srgbClr val="2D2B8D"/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39" name="Rectangle 17"/>
          <p:cNvSpPr>
            <a:spLocks noChangeArrowheads="1"/>
          </p:cNvSpPr>
          <p:nvPr/>
        </p:nvSpPr>
        <p:spPr bwMode="auto">
          <a:xfrm>
            <a:off x="186183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0" name="Rectangle 18"/>
          <p:cNvSpPr>
            <a:spLocks noChangeArrowheads="1"/>
          </p:cNvSpPr>
          <p:nvPr/>
        </p:nvSpPr>
        <p:spPr bwMode="auto">
          <a:xfrm>
            <a:off x="3141091" y="2669879"/>
            <a:ext cx="1477453" cy="1233124"/>
          </a:xfrm>
          <a:prstGeom prst="rect">
            <a:avLst/>
          </a:prstGeom>
          <a:solidFill>
            <a:srgbClr val="5471A9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1" name="Rectangle 19"/>
          <p:cNvSpPr>
            <a:spLocks noChangeArrowheads="1"/>
          </p:cNvSpPr>
          <p:nvPr/>
        </p:nvSpPr>
        <p:spPr bwMode="auto">
          <a:xfrm>
            <a:off x="6096002" y="1436757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2" name="Rectangle 20"/>
          <p:cNvSpPr>
            <a:spLocks noChangeArrowheads="1"/>
          </p:cNvSpPr>
          <p:nvPr/>
        </p:nvSpPr>
        <p:spPr bwMode="auto">
          <a:xfrm>
            <a:off x="10528363" y="1436757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3" name="Rectangle 21"/>
          <p:cNvSpPr>
            <a:spLocks noChangeArrowheads="1"/>
          </p:cNvSpPr>
          <p:nvPr/>
        </p:nvSpPr>
        <p:spPr bwMode="auto">
          <a:xfrm>
            <a:off x="4618544" y="1436757"/>
            <a:ext cx="1477453" cy="1233124"/>
          </a:xfrm>
          <a:prstGeom prst="rect">
            <a:avLst/>
          </a:prstGeom>
          <a:solidFill>
            <a:srgbClr val="40A7E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4" name="Rectangle 22"/>
          <p:cNvSpPr>
            <a:spLocks noChangeArrowheads="1"/>
          </p:cNvSpPr>
          <p:nvPr/>
        </p:nvSpPr>
        <p:spPr bwMode="auto">
          <a:xfrm>
            <a:off x="3141091" y="1436757"/>
            <a:ext cx="1477453" cy="1233124"/>
          </a:xfrm>
          <a:prstGeom prst="rect">
            <a:avLst/>
          </a:prstGeom>
          <a:solidFill>
            <a:srgbClr val="43D1A1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5" name="Rectangle 23"/>
          <p:cNvSpPr>
            <a:spLocks noChangeArrowheads="1"/>
          </p:cNvSpPr>
          <p:nvPr/>
        </p:nvSpPr>
        <p:spPr bwMode="auto">
          <a:xfrm>
            <a:off x="1663636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6" name="Rectangle 24"/>
          <p:cNvSpPr>
            <a:spLocks noChangeArrowheads="1"/>
          </p:cNvSpPr>
          <p:nvPr/>
        </p:nvSpPr>
        <p:spPr bwMode="auto">
          <a:xfrm>
            <a:off x="1663636" y="203633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7" name="Rectangle 25"/>
          <p:cNvSpPr>
            <a:spLocks noChangeArrowheads="1"/>
          </p:cNvSpPr>
          <p:nvPr/>
        </p:nvSpPr>
        <p:spPr bwMode="auto">
          <a:xfrm>
            <a:off x="1663636" y="1436757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8" name="Rectangle 26"/>
          <p:cNvSpPr>
            <a:spLocks noChangeArrowheads="1"/>
          </p:cNvSpPr>
          <p:nvPr/>
        </p:nvSpPr>
        <p:spPr bwMode="auto">
          <a:xfrm>
            <a:off x="4618544" y="2669879"/>
            <a:ext cx="1477453" cy="1233124"/>
          </a:xfrm>
          <a:prstGeom prst="rect">
            <a:avLst/>
          </a:prstGeom>
          <a:solidFill>
            <a:srgbClr val="F5B144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49" name="Rectangle 27"/>
          <p:cNvSpPr>
            <a:spLocks noChangeArrowheads="1"/>
          </p:cNvSpPr>
          <p:nvPr/>
        </p:nvSpPr>
        <p:spPr bwMode="auto">
          <a:xfrm>
            <a:off x="6096002" y="2669879"/>
            <a:ext cx="1477453" cy="1233124"/>
          </a:xfrm>
          <a:prstGeom prst="rect">
            <a:avLst/>
          </a:prstGeom>
          <a:solidFill>
            <a:srgbClr val="4383DD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0" name="Rectangle 28"/>
          <p:cNvSpPr>
            <a:spLocks noChangeArrowheads="1"/>
          </p:cNvSpPr>
          <p:nvPr/>
        </p:nvSpPr>
        <p:spPr bwMode="auto">
          <a:xfrm>
            <a:off x="9050908" y="2669879"/>
            <a:ext cx="1477453" cy="1233124"/>
          </a:xfrm>
          <a:prstGeom prst="rect">
            <a:avLst/>
          </a:prstGeom>
          <a:solidFill>
            <a:srgbClr val="40D4E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1" name="Rectangle 29"/>
          <p:cNvSpPr>
            <a:spLocks noChangeArrowheads="1"/>
          </p:cNvSpPr>
          <p:nvPr/>
        </p:nvSpPr>
        <p:spPr bwMode="auto">
          <a:xfrm>
            <a:off x="186183" y="1436757"/>
            <a:ext cx="1477453" cy="1233124"/>
          </a:xfrm>
          <a:prstGeom prst="rect">
            <a:avLst/>
          </a:prstGeom>
          <a:solidFill>
            <a:srgbClr val="9ED442">
              <a:alpha val="50000"/>
            </a:srgbClr>
          </a:solidFill>
          <a:ln>
            <a:noFill/>
          </a:ln>
          <a:extLst/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2" name="Freeform 30"/>
          <p:cNvSpPr>
            <a:spLocks noEditPoints="1"/>
          </p:cNvSpPr>
          <p:nvPr/>
        </p:nvSpPr>
        <p:spPr bwMode="auto">
          <a:xfrm>
            <a:off x="10963791" y="3056737"/>
            <a:ext cx="606596" cy="489249"/>
          </a:xfrm>
          <a:custGeom>
            <a:avLst/>
            <a:gdLst>
              <a:gd name="T0" fmla="*/ 442 w 884"/>
              <a:gd name="T1" fmla="*/ 286 h 711"/>
              <a:gd name="T2" fmla="*/ 334 w 884"/>
              <a:gd name="T3" fmla="*/ 179 h 711"/>
              <a:gd name="T4" fmla="*/ 442 w 884"/>
              <a:gd name="T5" fmla="*/ 71 h 711"/>
              <a:gd name="T6" fmla="*/ 549 w 884"/>
              <a:gd name="T7" fmla="*/ 179 h 711"/>
              <a:gd name="T8" fmla="*/ 442 w 884"/>
              <a:gd name="T9" fmla="*/ 286 h 711"/>
              <a:gd name="T10" fmla="*/ 442 w 884"/>
              <a:gd name="T11" fmla="*/ 0 h 711"/>
              <a:gd name="T12" fmla="*/ 263 w 884"/>
              <a:gd name="T13" fmla="*/ 179 h 711"/>
              <a:gd name="T14" fmla="*/ 442 w 884"/>
              <a:gd name="T15" fmla="*/ 358 h 711"/>
              <a:gd name="T16" fmla="*/ 514 w 884"/>
              <a:gd name="T17" fmla="*/ 343 h 711"/>
              <a:gd name="T18" fmla="*/ 514 w 884"/>
              <a:gd name="T19" fmla="*/ 577 h 711"/>
              <a:gd name="T20" fmla="*/ 442 w 884"/>
              <a:gd name="T21" fmla="*/ 529 h 711"/>
              <a:gd name="T22" fmla="*/ 370 w 884"/>
              <a:gd name="T23" fmla="*/ 577 h 711"/>
              <a:gd name="T24" fmla="*/ 370 w 884"/>
              <a:gd name="T25" fmla="*/ 391 h 711"/>
              <a:gd name="T26" fmla="*/ 299 w 884"/>
              <a:gd name="T27" fmla="*/ 391 h 711"/>
              <a:gd name="T28" fmla="*/ 299 w 884"/>
              <a:gd name="T29" fmla="*/ 711 h 711"/>
              <a:gd name="T30" fmla="*/ 442 w 884"/>
              <a:gd name="T31" fmla="*/ 616 h 711"/>
              <a:gd name="T32" fmla="*/ 585 w 884"/>
              <a:gd name="T33" fmla="*/ 711 h 711"/>
              <a:gd name="T34" fmla="*/ 585 w 884"/>
              <a:gd name="T35" fmla="*/ 285 h 711"/>
              <a:gd name="T36" fmla="*/ 621 w 884"/>
              <a:gd name="T37" fmla="*/ 179 h 711"/>
              <a:gd name="T38" fmla="*/ 442 w 884"/>
              <a:gd name="T39" fmla="*/ 0 h 711"/>
              <a:gd name="T40" fmla="*/ 836 w 884"/>
              <a:gd name="T41" fmla="*/ 36 h 711"/>
              <a:gd name="T42" fmla="*/ 662 w 884"/>
              <a:gd name="T43" fmla="*/ 60 h 711"/>
              <a:gd name="T44" fmla="*/ 687 w 884"/>
              <a:gd name="T45" fmla="*/ 130 h 711"/>
              <a:gd name="T46" fmla="*/ 789 w 884"/>
              <a:gd name="T47" fmla="*/ 116 h 711"/>
              <a:gd name="T48" fmla="*/ 789 w 884"/>
              <a:gd name="T49" fmla="*/ 277 h 711"/>
              <a:gd name="T50" fmla="*/ 678 w 884"/>
              <a:gd name="T51" fmla="*/ 262 h 711"/>
              <a:gd name="T52" fmla="*/ 641 w 884"/>
              <a:gd name="T53" fmla="*/ 330 h 711"/>
              <a:gd name="T54" fmla="*/ 836 w 884"/>
              <a:gd name="T55" fmla="*/ 358 h 711"/>
              <a:gd name="T56" fmla="*/ 836 w 884"/>
              <a:gd name="T57" fmla="*/ 36 h 711"/>
              <a:gd name="T58" fmla="*/ 95 w 884"/>
              <a:gd name="T59" fmla="*/ 277 h 711"/>
              <a:gd name="T60" fmla="*/ 95 w 884"/>
              <a:gd name="T61" fmla="*/ 116 h 711"/>
              <a:gd name="T62" fmla="*/ 196 w 884"/>
              <a:gd name="T63" fmla="*/ 130 h 711"/>
              <a:gd name="T64" fmla="*/ 221 w 884"/>
              <a:gd name="T65" fmla="*/ 60 h 711"/>
              <a:gd name="T66" fmla="*/ 48 w 884"/>
              <a:gd name="T67" fmla="*/ 35 h 711"/>
              <a:gd name="T68" fmla="*/ 48 w 884"/>
              <a:gd name="T69" fmla="*/ 358 h 711"/>
              <a:gd name="T70" fmla="*/ 243 w 884"/>
              <a:gd name="T71" fmla="*/ 331 h 711"/>
              <a:gd name="T72" fmla="*/ 206 w 884"/>
              <a:gd name="T73" fmla="*/ 263 h 711"/>
              <a:gd name="T74" fmla="*/ 95 w 884"/>
              <a:gd name="T75" fmla="*/ 277 h 7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884" h="711">
                <a:moveTo>
                  <a:pt x="442" y="286"/>
                </a:moveTo>
                <a:cubicBezTo>
                  <a:pt x="382" y="286"/>
                  <a:pt x="334" y="238"/>
                  <a:pt x="334" y="179"/>
                </a:cubicBezTo>
                <a:cubicBezTo>
                  <a:pt x="334" y="120"/>
                  <a:pt x="382" y="71"/>
                  <a:pt x="442" y="71"/>
                </a:cubicBezTo>
                <a:cubicBezTo>
                  <a:pt x="501" y="71"/>
                  <a:pt x="549" y="120"/>
                  <a:pt x="549" y="179"/>
                </a:cubicBezTo>
                <a:cubicBezTo>
                  <a:pt x="549" y="238"/>
                  <a:pt x="501" y="286"/>
                  <a:pt x="442" y="286"/>
                </a:cubicBezTo>
                <a:close/>
                <a:moveTo>
                  <a:pt x="442" y="0"/>
                </a:moveTo>
                <a:cubicBezTo>
                  <a:pt x="343" y="0"/>
                  <a:pt x="263" y="80"/>
                  <a:pt x="263" y="179"/>
                </a:cubicBezTo>
                <a:cubicBezTo>
                  <a:pt x="263" y="277"/>
                  <a:pt x="343" y="358"/>
                  <a:pt x="442" y="358"/>
                </a:cubicBezTo>
                <a:cubicBezTo>
                  <a:pt x="467" y="358"/>
                  <a:pt x="478" y="352"/>
                  <a:pt x="514" y="343"/>
                </a:cubicBezTo>
                <a:lnTo>
                  <a:pt x="514" y="577"/>
                </a:lnTo>
                <a:lnTo>
                  <a:pt x="442" y="529"/>
                </a:lnTo>
                <a:lnTo>
                  <a:pt x="370" y="577"/>
                </a:lnTo>
                <a:lnTo>
                  <a:pt x="370" y="391"/>
                </a:lnTo>
                <a:lnTo>
                  <a:pt x="299" y="391"/>
                </a:lnTo>
                <a:lnTo>
                  <a:pt x="299" y="711"/>
                </a:lnTo>
                <a:lnTo>
                  <a:pt x="442" y="616"/>
                </a:lnTo>
                <a:lnTo>
                  <a:pt x="585" y="711"/>
                </a:lnTo>
                <a:lnTo>
                  <a:pt x="585" y="285"/>
                </a:lnTo>
                <a:cubicBezTo>
                  <a:pt x="621" y="255"/>
                  <a:pt x="621" y="219"/>
                  <a:pt x="621" y="179"/>
                </a:cubicBezTo>
                <a:cubicBezTo>
                  <a:pt x="621" y="80"/>
                  <a:pt x="540" y="0"/>
                  <a:pt x="442" y="0"/>
                </a:cubicBezTo>
                <a:close/>
                <a:moveTo>
                  <a:pt x="836" y="36"/>
                </a:moveTo>
                <a:cubicBezTo>
                  <a:pt x="778" y="46"/>
                  <a:pt x="720" y="54"/>
                  <a:pt x="662" y="60"/>
                </a:cubicBezTo>
                <a:cubicBezTo>
                  <a:pt x="674" y="82"/>
                  <a:pt x="683" y="105"/>
                  <a:pt x="687" y="130"/>
                </a:cubicBezTo>
                <a:cubicBezTo>
                  <a:pt x="721" y="126"/>
                  <a:pt x="756" y="121"/>
                  <a:pt x="789" y="116"/>
                </a:cubicBezTo>
                <a:cubicBezTo>
                  <a:pt x="804" y="169"/>
                  <a:pt x="804" y="224"/>
                  <a:pt x="789" y="277"/>
                </a:cubicBezTo>
                <a:cubicBezTo>
                  <a:pt x="752" y="271"/>
                  <a:pt x="715" y="266"/>
                  <a:pt x="678" y="262"/>
                </a:cubicBezTo>
                <a:cubicBezTo>
                  <a:pt x="669" y="287"/>
                  <a:pt x="656" y="310"/>
                  <a:pt x="641" y="330"/>
                </a:cubicBezTo>
                <a:cubicBezTo>
                  <a:pt x="706" y="336"/>
                  <a:pt x="771" y="346"/>
                  <a:pt x="836" y="358"/>
                </a:cubicBezTo>
                <a:cubicBezTo>
                  <a:pt x="883" y="258"/>
                  <a:pt x="884" y="138"/>
                  <a:pt x="836" y="36"/>
                </a:cubicBezTo>
                <a:close/>
                <a:moveTo>
                  <a:pt x="95" y="277"/>
                </a:moveTo>
                <a:cubicBezTo>
                  <a:pt x="81" y="225"/>
                  <a:pt x="81" y="170"/>
                  <a:pt x="95" y="116"/>
                </a:cubicBezTo>
                <a:cubicBezTo>
                  <a:pt x="129" y="122"/>
                  <a:pt x="162" y="126"/>
                  <a:pt x="196" y="130"/>
                </a:cubicBezTo>
                <a:cubicBezTo>
                  <a:pt x="201" y="105"/>
                  <a:pt x="209" y="82"/>
                  <a:pt x="221" y="60"/>
                </a:cubicBezTo>
                <a:cubicBezTo>
                  <a:pt x="163" y="54"/>
                  <a:pt x="105" y="46"/>
                  <a:pt x="48" y="35"/>
                </a:cubicBezTo>
                <a:cubicBezTo>
                  <a:pt x="3" y="140"/>
                  <a:pt x="0" y="255"/>
                  <a:pt x="48" y="358"/>
                </a:cubicBezTo>
                <a:cubicBezTo>
                  <a:pt x="112" y="346"/>
                  <a:pt x="178" y="337"/>
                  <a:pt x="243" y="331"/>
                </a:cubicBezTo>
                <a:cubicBezTo>
                  <a:pt x="227" y="310"/>
                  <a:pt x="215" y="287"/>
                  <a:pt x="206" y="263"/>
                </a:cubicBezTo>
                <a:cubicBezTo>
                  <a:pt x="169" y="267"/>
                  <a:pt x="132" y="271"/>
                  <a:pt x="95" y="277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3" name="Freeform 31"/>
          <p:cNvSpPr>
            <a:spLocks noEditPoints="1"/>
          </p:cNvSpPr>
          <p:nvPr/>
        </p:nvSpPr>
        <p:spPr bwMode="auto">
          <a:xfrm>
            <a:off x="5062984" y="3029721"/>
            <a:ext cx="591581" cy="567288"/>
          </a:xfrm>
          <a:custGeom>
            <a:avLst/>
            <a:gdLst>
              <a:gd name="T0" fmla="*/ 466 w 860"/>
              <a:gd name="T1" fmla="*/ 465 h 823"/>
              <a:gd name="T2" fmla="*/ 394 w 860"/>
              <a:gd name="T3" fmla="*/ 393 h 823"/>
              <a:gd name="T4" fmla="*/ 537 w 860"/>
              <a:gd name="T5" fmla="*/ 716 h 823"/>
              <a:gd name="T6" fmla="*/ 609 w 860"/>
              <a:gd name="T7" fmla="*/ 644 h 823"/>
              <a:gd name="T8" fmla="*/ 537 w 860"/>
              <a:gd name="T9" fmla="*/ 716 h 823"/>
              <a:gd name="T10" fmla="*/ 609 w 860"/>
              <a:gd name="T11" fmla="*/ 608 h 823"/>
              <a:gd name="T12" fmla="*/ 537 w 860"/>
              <a:gd name="T13" fmla="*/ 537 h 823"/>
              <a:gd name="T14" fmla="*/ 716 w 860"/>
              <a:gd name="T15" fmla="*/ 644 h 823"/>
              <a:gd name="T16" fmla="*/ 645 w 860"/>
              <a:gd name="T17" fmla="*/ 716 h 823"/>
              <a:gd name="T18" fmla="*/ 716 w 860"/>
              <a:gd name="T19" fmla="*/ 644 h 823"/>
              <a:gd name="T20" fmla="*/ 645 w 860"/>
              <a:gd name="T21" fmla="*/ 537 h 823"/>
              <a:gd name="T22" fmla="*/ 716 w 860"/>
              <a:gd name="T23" fmla="*/ 608 h 823"/>
              <a:gd name="T24" fmla="*/ 251 w 860"/>
              <a:gd name="T25" fmla="*/ 716 h 823"/>
              <a:gd name="T26" fmla="*/ 322 w 860"/>
              <a:gd name="T27" fmla="*/ 644 h 823"/>
              <a:gd name="T28" fmla="*/ 251 w 860"/>
              <a:gd name="T29" fmla="*/ 716 h 823"/>
              <a:gd name="T30" fmla="*/ 322 w 860"/>
              <a:gd name="T31" fmla="*/ 608 h 823"/>
              <a:gd name="T32" fmla="*/ 251 w 860"/>
              <a:gd name="T33" fmla="*/ 537 h 823"/>
              <a:gd name="T34" fmla="*/ 143 w 860"/>
              <a:gd name="T35" fmla="*/ 716 h 823"/>
              <a:gd name="T36" fmla="*/ 215 w 860"/>
              <a:gd name="T37" fmla="*/ 644 h 823"/>
              <a:gd name="T38" fmla="*/ 143 w 860"/>
              <a:gd name="T39" fmla="*/ 716 h 823"/>
              <a:gd name="T40" fmla="*/ 215 w 860"/>
              <a:gd name="T41" fmla="*/ 608 h 823"/>
              <a:gd name="T42" fmla="*/ 143 w 860"/>
              <a:gd name="T43" fmla="*/ 537 h 823"/>
              <a:gd name="T44" fmla="*/ 788 w 860"/>
              <a:gd name="T45" fmla="*/ 752 h 823"/>
              <a:gd name="T46" fmla="*/ 466 w 860"/>
              <a:gd name="T47" fmla="*/ 537 h 823"/>
              <a:gd name="T48" fmla="*/ 394 w 860"/>
              <a:gd name="T49" fmla="*/ 752 h 823"/>
              <a:gd name="T50" fmla="*/ 72 w 860"/>
              <a:gd name="T51" fmla="*/ 501 h 823"/>
              <a:gd name="T52" fmla="*/ 430 w 860"/>
              <a:gd name="T53" fmla="*/ 269 h 823"/>
              <a:gd name="T54" fmla="*/ 788 w 860"/>
              <a:gd name="T55" fmla="*/ 501 h 823"/>
              <a:gd name="T56" fmla="*/ 100 w 860"/>
              <a:gd name="T57" fmla="*/ 358 h 823"/>
              <a:gd name="T58" fmla="*/ 199 w 860"/>
              <a:gd name="T59" fmla="*/ 429 h 823"/>
              <a:gd name="T60" fmla="*/ 100 w 860"/>
              <a:gd name="T61" fmla="*/ 358 h 823"/>
              <a:gd name="T62" fmla="*/ 778 w 860"/>
              <a:gd name="T63" fmla="*/ 429 h 823"/>
              <a:gd name="T64" fmla="*/ 600 w 860"/>
              <a:gd name="T65" fmla="*/ 358 h 823"/>
              <a:gd name="T66" fmla="*/ 816 w 860"/>
              <a:gd name="T67" fmla="*/ 286 h 823"/>
              <a:gd name="T68" fmla="*/ 466 w 860"/>
              <a:gd name="T69" fmla="*/ 183 h 823"/>
              <a:gd name="T70" fmla="*/ 483 w 860"/>
              <a:gd name="T71" fmla="*/ 73 h 823"/>
              <a:gd name="T72" fmla="*/ 645 w 860"/>
              <a:gd name="T73" fmla="*/ 53 h 823"/>
              <a:gd name="T74" fmla="*/ 430 w 860"/>
              <a:gd name="T75" fmla="*/ 0 h 823"/>
              <a:gd name="T76" fmla="*/ 394 w 860"/>
              <a:gd name="T77" fmla="*/ 183 h 823"/>
              <a:gd name="T78" fmla="*/ 44 w 860"/>
              <a:gd name="T79" fmla="*/ 286 h 823"/>
              <a:gd name="T80" fmla="*/ 0 w 860"/>
              <a:gd name="T81" fmla="*/ 823 h 823"/>
              <a:gd name="T82" fmla="*/ 860 w 860"/>
              <a:gd name="T83" fmla="*/ 448 h 8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860" h="823">
                <a:moveTo>
                  <a:pt x="394" y="465"/>
                </a:moveTo>
                <a:lnTo>
                  <a:pt x="466" y="465"/>
                </a:lnTo>
                <a:lnTo>
                  <a:pt x="466" y="393"/>
                </a:lnTo>
                <a:lnTo>
                  <a:pt x="394" y="393"/>
                </a:lnTo>
                <a:lnTo>
                  <a:pt x="394" y="465"/>
                </a:lnTo>
                <a:close/>
                <a:moveTo>
                  <a:pt x="537" y="716"/>
                </a:moveTo>
                <a:lnTo>
                  <a:pt x="609" y="716"/>
                </a:lnTo>
                <a:lnTo>
                  <a:pt x="609" y="644"/>
                </a:lnTo>
                <a:lnTo>
                  <a:pt x="537" y="644"/>
                </a:lnTo>
                <a:lnTo>
                  <a:pt x="537" y="716"/>
                </a:lnTo>
                <a:close/>
                <a:moveTo>
                  <a:pt x="537" y="608"/>
                </a:moveTo>
                <a:lnTo>
                  <a:pt x="609" y="608"/>
                </a:lnTo>
                <a:lnTo>
                  <a:pt x="609" y="537"/>
                </a:lnTo>
                <a:lnTo>
                  <a:pt x="537" y="537"/>
                </a:lnTo>
                <a:lnTo>
                  <a:pt x="537" y="608"/>
                </a:lnTo>
                <a:close/>
                <a:moveTo>
                  <a:pt x="716" y="644"/>
                </a:moveTo>
                <a:lnTo>
                  <a:pt x="645" y="644"/>
                </a:lnTo>
                <a:lnTo>
                  <a:pt x="645" y="716"/>
                </a:lnTo>
                <a:lnTo>
                  <a:pt x="716" y="716"/>
                </a:lnTo>
                <a:lnTo>
                  <a:pt x="716" y="644"/>
                </a:lnTo>
                <a:close/>
                <a:moveTo>
                  <a:pt x="716" y="537"/>
                </a:moveTo>
                <a:lnTo>
                  <a:pt x="645" y="537"/>
                </a:lnTo>
                <a:lnTo>
                  <a:pt x="645" y="608"/>
                </a:lnTo>
                <a:lnTo>
                  <a:pt x="716" y="608"/>
                </a:lnTo>
                <a:lnTo>
                  <a:pt x="716" y="537"/>
                </a:lnTo>
                <a:close/>
                <a:moveTo>
                  <a:pt x="251" y="716"/>
                </a:moveTo>
                <a:lnTo>
                  <a:pt x="322" y="716"/>
                </a:lnTo>
                <a:lnTo>
                  <a:pt x="322" y="644"/>
                </a:lnTo>
                <a:lnTo>
                  <a:pt x="251" y="644"/>
                </a:lnTo>
                <a:lnTo>
                  <a:pt x="251" y="716"/>
                </a:lnTo>
                <a:close/>
                <a:moveTo>
                  <a:pt x="251" y="608"/>
                </a:moveTo>
                <a:lnTo>
                  <a:pt x="322" y="608"/>
                </a:lnTo>
                <a:lnTo>
                  <a:pt x="322" y="537"/>
                </a:lnTo>
                <a:lnTo>
                  <a:pt x="251" y="537"/>
                </a:lnTo>
                <a:lnTo>
                  <a:pt x="251" y="608"/>
                </a:lnTo>
                <a:close/>
                <a:moveTo>
                  <a:pt x="143" y="716"/>
                </a:moveTo>
                <a:lnTo>
                  <a:pt x="215" y="716"/>
                </a:lnTo>
                <a:lnTo>
                  <a:pt x="215" y="644"/>
                </a:lnTo>
                <a:lnTo>
                  <a:pt x="143" y="644"/>
                </a:lnTo>
                <a:lnTo>
                  <a:pt x="143" y="716"/>
                </a:lnTo>
                <a:close/>
                <a:moveTo>
                  <a:pt x="143" y="608"/>
                </a:moveTo>
                <a:lnTo>
                  <a:pt x="215" y="608"/>
                </a:lnTo>
                <a:lnTo>
                  <a:pt x="215" y="537"/>
                </a:lnTo>
                <a:lnTo>
                  <a:pt x="143" y="537"/>
                </a:lnTo>
                <a:lnTo>
                  <a:pt x="143" y="608"/>
                </a:lnTo>
                <a:close/>
                <a:moveTo>
                  <a:pt x="788" y="752"/>
                </a:moveTo>
                <a:lnTo>
                  <a:pt x="466" y="752"/>
                </a:lnTo>
                <a:lnTo>
                  <a:pt x="466" y="537"/>
                </a:lnTo>
                <a:lnTo>
                  <a:pt x="394" y="537"/>
                </a:lnTo>
                <a:lnTo>
                  <a:pt x="394" y="752"/>
                </a:lnTo>
                <a:lnTo>
                  <a:pt x="72" y="752"/>
                </a:lnTo>
                <a:lnTo>
                  <a:pt x="72" y="501"/>
                </a:lnTo>
                <a:lnTo>
                  <a:pt x="232" y="501"/>
                </a:lnTo>
                <a:lnTo>
                  <a:pt x="430" y="269"/>
                </a:lnTo>
                <a:lnTo>
                  <a:pt x="628" y="501"/>
                </a:lnTo>
                <a:lnTo>
                  <a:pt x="788" y="501"/>
                </a:lnTo>
                <a:lnTo>
                  <a:pt x="788" y="752"/>
                </a:lnTo>
                <a:close/>
                <a:moveTo>
                  <a:pt x="100" y="358"/>
                </a:moveTo>
                <a:lnTo>
                  <a:pt x="260" y="358"/>
                </a:lnTo>
                <a:lnTo>
                  <a:pt x="199" y="429"/>
                </a:lnTo>
                <a:lnTo>
                  <a:pt x="82" y="429"/>
                </a:lnTo>
                <a:lnTo>
                  <a:pt x="100" y="358"/>
                </a:lnTo>
                <a:close/>
                <a:moveTo>
                  <a:pt x="760" y="358"/>
                </a:moveTo>
                <a:lnTo>
                  <a:pt x="778" y="429"/>
                </a:lnTo>
                <a:lnTo>
                  <a:pt x="661" y="429"/>
                </a:lnTo>
                <a:lnTo>
                  <a:pt x="600" y="358"/>
                </a:lnTo>
                <a:lnTo>
                  <a:pt x="760" y="358"/>
                </a:lnTo>
                <a:close/>
                <a:moveTo>
                  <a:pt x="816" y="286"/>
                </a:moveTo>
                <a:lnTo>
                  <a:pt x="539" y="286"/>
                </a:lnTo>
                <a:lnTo>
                  <a:pt x="466" y="183"/>
                </a:lnTo>
                <a:lnTo>
                  <a:pt x="466" y="59"/>
                </a:lnTo>
                <a:cubicBezTo>
                  <a:pt x="466" y="62"/>
                  <a:pt x="477" y="67"/>
                  <a:pt x="483" y="73"/>
                </a:cubicBezTo>
                <a:cubicBezTo>
                  <a:pt x="512" y="101"/>
                  <a:pt x="537" y="125"/>
                  <a:pt x="645" y="125"/>
                </a:cubicBezTo>
                <a:lnTo>
                  <a:pt x="645" y="53"/>
                </a:lnTo>
                <a:cubicBezTo>
                  <a:pt x="573" y="53"/>
                  <a:pt x="550" y="47"/>
                  <a:pt x="533" y="31"/>
                </a:cubicBezTo>
                <a:cubicBezTo>
                  <a:pt x="511" y="9"/>
                  <a:pt x="488" y="0"/>
                  <a:pt x="430" y="0"/>
                </a:cubicBezTo>
                <a:lnTo>
                  <a:pt x="394" y="0"/>
                </a:lnTo>
                <a:lnTo>
                  <a:pt x="394" y="183"/>
                </a:lnTo>
                <a:lnTo>
                  <a:pt x="322" y="286"/>
                </a:lnTo>
                <a:lnTo>
                  <a:pt x="44" y="286"/>
                </a:lnTo>
                <a:lnTo>
                  <a:pt x="1" y="458"/>
                </a:lnTo>
                <a:lnTo>
                  <a:pt x="0" y="823"/>
                </a:lnTo>
                <a:lnTo>
                  <a:pt x="860" y="823"/>
                </a:lnTo>
                <a:lnTo>
                  <a:pt x="860" y="448"/>
                </a:lnTo>
                <a:lnTo>
                  <a:pt x="816" y="28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5" name="Freeform 33"/>
          <p:cNvSpPr>
            <a:spLocks noEditPoints="1"/>
          </p:cNvSpPr>
          <p:nvPr/>
        </p:nvSpPr>
        <p:spPr bwMode="auto">
          <a:xfrm>
            <a:off x="8017892" y="3077747"/>
            <a:ext cx="591581" cy="543275"/>
          </a:xfrm>
          <a:custGeom>
            <a:avLst/>
            <a:gdLst>
              <a:gd name="T0" fmla="*/ 143 w 859"/>
              <a:gd name="T1" fmla="*/ 645 h 788"/>
              <a:gd name="T2" fmla="*/ 143 w 859"/>
              <a:gd name="T3" fmla="*/ 430 h 788"/>
              <a:gd name="T4" fmla="*/ 716 w 859"/>
              <a:gd name="T5" fmla="*/ 430 h 788"/>
              <a:gd name="T6" fmla="*/ 716 w 859"/>
              <a:gd name="T7" fmla="*/ 645 h 788"/>
              <a:gd name="T8" fmla="*/ 143 w 859"/>
              <a:gd name="T9" fmla="*/ 645 h 788"/>
              <a:gd name="T10" fmla="*/ 179 w 859"/>
              <a:gd name="T11" fmla="*/ 72 h 788"/>
              <a:gd name="T12" fmla="*/ 680 w 859"/>
              <a:gd name="T13" fmla="*/ 72 h 788"/>
              <a:gd name="T14" fmla="*/ 716 w 859"/>
              <a:gd name="T15" fmla="*/ 108 h 788"/>
              <a:gd name="T16" fmla="*/ 716 w 859"/>
              <a:gd name="T17" fmla="*/ 358 h 788"/>
              <a:gd name="T18" fmla="*/ 465 w 859"/>
              <a:gd name="T19" fmla="*/ 358 h 788"/>
              <a:gd name="T20" fmla="*/ 465 w 859"/>
              <a:gd name="T21" fmla="*/ 108 h 788"/>
              <a:gd name="T22" fmla="*/ 393 w 859"/>
              <a:gd name="T23" fmla="*/ 108 h 788"/>
              <a:gd name="T24" fmla="*/ 393 w 859"/>
              <a:gd name="T25" fmla="*/ 358 h 788"/>
              <a:gd name="T26" fmla="*/ 143 w 859"/>
              <a:gd name="T27" fmla="*/ 358 h 788"/>
              <a:gd name="T28" fmla="*/ 143 w 859"/>
              <a:gd name="T29" fmla="*/ 108 h 788"/>
              <a:gd name="T30" fmla="*/ 179 w 859"/>
              <a:gd name="T31" fmla="*/ 72 h 788"/>
              <a:gd name="T32" fmla="*/ 787 w 859"/>
              <a:gd name="T33" fmla="*/ 179 h 788"/>
              <a:gd name="T34" fmla="*/ 787 w 859"/>
              <a:gd name="T35" fmla="*/ 108 h 788"/>
              <a:gd name="T36" fmla="*/ 680 w 859"/>
              <a:gd name="T37" fmla="*/ 0 h 788"/>
              <a:gd name="T38" fmla="*/ 179 w 859"/>
              <a:gd name="T39" fmla="*/ 0 h 788"/>
              <a:gd name="T40" fmla="*/ 71 w 859"/>
              <a:gd name="T41" fmla="*/ 108 h 788"/>
              <a:gd name="T42" fmla="*/ 71 w 859"/>
              <a:gd name="T43" fmla="*/ 179 h 788"/>
              <a:gd name="T44" fmla="*/ 0 w 859"/>
              <a:gd name="T45" fmla="*/ 179 h 788"/>
              <a:gd name="T46" fmla="*/ 0 w 859"/>
              <a:gd name="T47" fmla="*/ 358 h 788"/>
              <a:gd name="T48" fmla="*/ 71 w 859"/>
              <a:gd name="T49" fmla="*/ 358 h 788"/>
              <a:gd name="T50" fmla="*/ 71 w 859"/>
              <a:gd name="T51" fmla="*/ 716 h 788"/>
              <a:gd name="T52" fmla="*/ 143 w 859"/>
              <a:gd name="T53" fmla="*/ 716 h 788"/>
              <a:gd name="T54" fmla="*/ 143 w 859"/>
              <a:gd name="T55" fmla="*/ 788 h 788"/>
              <a:gd name="T56" fmla="*/ 214 w 859"/>
              <a:gd name="T57" fmla="*/ 788 h 788"/>
              <a:gd name="T58" fmla="*/ 214 w 859"/>
              <a:gd name="T59" fmla="*/ 716 h 788"/>
              <a:gd name="T60" fmla="*/ 644 w 859"/>
              <a:gd name="T61" fmla="*/ 716 h 788"/>
              <a:gd name="T62" fmla="*/ 644 w 859"/>
              <a:gd name="T63" fmla="*/ 788 h 788"/>
              <a:gd name="T64" fmla="*/ 716 w 859"/>
              <a:gd name="T65" fmla="*/ 788 h 788"/>
              <a:gd name="T66" fmla="*/ 716 w 859"/>
              <a:gd name="T67" fmla="*/ 716 h 788"/>
              <a:gd name="T68" fmla="*/ 787 w 859"/>
              <a:gd name="T69" fmla="*/ 716 h 788"/>
              <a:gd name="T70" fmla="*/ 787 w 859"/>
              <a:gd name="T71" fmla="*/ 358 h 788"/>
              <a:gd name="T72" fmla="*/ 859 w 859"/>
              <a:gd name="T73" fmla="*/ 358 h 788"/>
              <a:gd name="T74" fmla="*/ 859 w 859"/>
              <a:gd name="T75" fmla="*/ 179 h 788"/>
              <a:gd name="T76" fmla="*/ 787 w 859"/>
              <a:gd name="T77" fmla="*/ 179 h 7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859" h="788">
                <a:moveTo>
                  <a:pt x="143" y="645"/>
                </a:moveTo>
                <a:lnTo>
                  <a:pt x="143" y="430"/>
                </a:lnTo>
                <a:lnTo>
                  <a:pt x="716" y="430"/>
                </a:lnTo>
                <a:lnTo>
                  <a:pt x="716" y="645"/>
                </a:lnTo>
                <a:lnTo>
                  <a:pt x="143" y="645"/>
                </a:lnTo>
                <a:close/>
                <a:moveTo>
                  <a:pt x="179" y="72"/>
                </a:moveTo>
                <a:lnTo>
                  <a:pt x="680" y="72"/>
                </a:lnTo>
                <a:cubicBezTo>
                  <a:pt x="700" y="72"/>
                  <a:pt x="716" y="88"/>
                  <a:pt x="716" y="108"/>
                </a:cubicBezTo>
                <a:lnTo>
                  <a:pt x="716" y="358"/>
                </a:lnTo>
                <a:lnTo>
                  <a:pt x="465" y="358"/>
                </a:lnTo>
                <a:lnTo>
                  <a:pt x="465" y="108"/>
                </a:lnTo>
                <a:lnTo>
                  <a:pt x="393" y="108"/>
                </a:lnTo>
                <a:lnTo>
                  <a:pt x="393" y="358"/>
                </a:lnTo>
                <a:lnTo>
                  <a:pt x="143" y="358"/>
                </a:lnTo>
                <a:lnTo>
                  <a:pt x="143" y="108"/>
                </a:lnTo>
                <a:cubicBezTo>
                  <a:pt x="143" y="88"/>
                  <a:pt x="159" y="72"/>
                  <a:pt x="179" y="72"/>
                </a:cubicBezTo>
                <a:close/>
                <a:moveTo>
                  <a:pt x="787" y="179"/>
                </a:moveTo>
                <a:lnTo>
                  <a:pt x="787" y="108"/>
                </a:lnTo>
                <a:cubicBezTo>
                  <a:pt x="787" y="48"/>
                  <a:pt x="739" y="0"/>
                  <a:pt x="680" y="0"/>
                </a:cubicBezTo>
                <a:lnTo>
                  <a:pt x="179" y="0"/>
                </a:lnTo>
                <a:cubicBezTo>
                  <a:pt x="120" y="0"/>
                  <a:pt x="71" y="48"/>
                  <a:pt x="71" y="108"/>
                </a:cubicBezTo>
                <a:lnTo>
                  <a:pt x="71" y="179"/>
                </a:lnTo>
                <a:lnTo>
                  <a:pt x="0" y="179"/>
                </a:lnTo>
                <a:lnTo>
                  <a:pt x="0" y="358"/>
                </a:lnTo>
                <a:lnTo>
                  <a:pt x="71" y="358"/>
                </a:lnTo>
                <a:lnTo>
                  <a:pt x="71" y="716"/>
                </a:lnTo>
                <a:lnTo>
                  <a:pt x="143" y="716"/>
                </a:lnTo>
                <a:lnTo>
                  <a:pt x="143" y="788"/>
                </a:lnTo>
                <a:lnTo>
                  <a:pt x="214" y="788"/>
                </a:lnTo>
                <a:lnTo>
                  <a:pt x="214" y="716"/>
                </a:lnTo>
                <a:lnTo>
                  <a:pt x="644" y="716"/>
                </a:lnTo>
                <a:lnTo>
                  <a:pt x="644" y="788"/>
                </a:lnTo>
                <a:lnTo>
                  <a:pt x="716" y="788"/>
                </a:lnTo>
                <a:lnTo>
                  <a:pt x="716" y="716"/>
                </a:lnTo>
                <a:lnTo>
                  <a:pt x="787" y="716"/>
                </a:lnTo>
                <a:lnTo>
                  <a:pt x="787" y="358"/>
                </a:lnTo>
                <a:lnTo>
                  <a:pt x="859" y="358"/>
                </a:lnTo>
                <a:lnTo>
                  <a:pt x="859" y="179"/>
                </a:lnTo>
                <a:lnTo>
                  <a:pt x="787" y="17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6" name="Rectangle 34"/>
          <p:cNvSpPr>
            <a:spLocks noChangeArrowheads="1"/>
          </p:cNvSpPr>
          <p:nvPr/>
        </p:nvSpPr>
        <p:spPr bwMode="auto">
          <a:xfrm>
            <a:off x="8141012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7" name="Rectangle 35"/>
          <p:cNvSpPr>
            <a:spLocks noChangeArrowheads="1"/>
          </p:cNvSpPr>
          <p:nvPr/>
        </p:nvSpPr>
        <p:spPr bwMode="auto">
          <a:xfrm>
            <a:off x="8363231" y="3429000"/>
            <a:ext cx="123120" cy="51027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8" name="Rectangle 36"/>
          <p:cNvSpPr>
            <a:spLocks noChangeArrowheads="1"/>
          </p:cNvSpPr>
          <p:nvPr/>
        </p:nvSpPr>
        <p:spPr bwMode="auto">
          <a:xfrm>
            <a:off x="2279241" y="647860"/>
            <a:ext cx="246243" cy="480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59" name="Freeform 37"/>
          <p:cNvSpPr>
            <a:spLocks noEditPoints="1"/>
          </p:cNvSpPr>
          <p:nvPr/>
        </p:nvSpPr>
        <p:spPr bwMode="auto">
          <a:xfrm>
            <a:off x="2177142" y="560563"/>
            <a:ext cx="447441" cy="519263"/>
          </a:xfrm>
          <a:custGeom>
            <a:avLst/>
            <a:gdLst>
              <a:gd name="T0" fmla="*/ 212 w 651"/>
              <a:gd name="T1" fmla="*/ 446 h 752"/>
              <a:gd name="T2" fmla="*/ 281 w 651"/>
              <a:gd name="T3" fmla="*/ 680 h 752"/>
              <a:gd name="T4" fmla="*/ 290 w 651"/>
              <a:gd name="T5" fmla="*/ 680 h 752"/>
              <a:gd name="T6" fmla="*/ 290 w 651"/>
              <a:gd name="T7" fmla="*/ 348 h 752"/>
              <a:gd name="T8" fmla="*/ 254 w 651"/>
              <a:gd name="T9" fmla="*/ 286 h 752"/>
              <a:gd name="T10" fmla="*/ 326 w 651"/>
              <a:gd name="T11" fmla="*/ 215 h 752"/>
              <a:gd name="T12" fmla="*/ 397 w 651"/>
              <a:gd name="T13" fmla="*/ 286 h 752"/>
              <a:gd name="T14" fmla="*/ 362 w 651"/>
              <a:gd name="T15" fmla="*/ 348 h 752"/>
              <a:gd name="T16" fmla="*/ 362 w 651"/>
              <a:gd name="T17" fmla="*/ 680 h 752"/>
              <a:gd name="T18" fmla="*/ 370 w 651"/>
              <a:gd name="T19" fmla="*/ 680 h 752"/>
              <a:gd name="T20" fmla="*/ 435 w 651"/>
              <a:gd name="T21" fmla="*/ 456 h 752"/>
              <a:gd name="T22" fmla="*/ 573 w 651"/>
              <a:gd name="T23" fmla="*/ 245 h 752"/>
              <a:gd name="T24" fmla="*/ 326 w 651"/>
              <a:gd name="T25" fmla="*/ 72 h 752"/>
              <a:gd name="T26" fmla="*/ 79 w 651"/>
              <a:gd name="T27" fmla="*/ 245 h 752"/>
              <a:gd name="T28" fmla="*/ 212 w 651"/>
              <a:gd name="T29" fmla="*/ 446 h 752"/>
              <a:gd name="T30" fmla="*/ 5 w 651"/>
              <a:gd name="T31" fmla="*/ 241 h 752"/>
              <a:gd name="T32" fmla="*/ 326 w 651"/>
              <a:gd name="T33" fmla="*/ 0 h 752"/>
              <a:gd name="T34" fmla="*/ 647 w 651"/>
              <a:gd name="T35" fmla="*/ 241 h 752"/>
              <a:gd name="T36" fmla="*/ 651 w 651"/>
              <a:gd name="T37" fmla="*/ 257 h 752"/>
              <a:gd name="T38" fmla="*/ 502 w 651"/>
              <a:gd name="T39" fmla="*/ 481 h 752"/>
              <a:gd name="T40" fmla="*/ 424 w 651"/>
              <a:gd name="T41" fmla="*/ 752 h 752"/>
              <a:gd name="T42" fmla="*/ 227 w 651"/>
              <a:gd name="T43" fmla="*/ 752 h 752"/>
              <a:gd name="T44" fmla="*/ 150 w 651"/>
              <a:gd name="T45" fmla="*/ 481 h 752"/>
              <a:gd name="T46" fmla="*/ 0 w 651"/>
              <a:gd name="T47" fmla="*/ 257 h 752"/>
              <a:gd name="T48" fmla="*/ 5 w 651"/>
              <a:gd name="T49" fmla="*/ 241 h 7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51" h="752">
                <a:moveTo>
                  <a:pt x="212" y="446"/>
                </a:moveTo>
                <a:lnTo>
                  <a:pt x="281" y="680"/>
                </a:lnTo>
                <a:lnTo>
                  <a:pt x="290" y="680"/>
                </a:lnTo>
                <a:lnTo>
                  <a:pt x="290" y="348"/>
                </a:lnTo>
                <a:cubicBezTo>
                  <a:pt x="254" y="336"/>
                  <a:pt x="254" y="313"/>
                  <a:pt x="254" y="286"/>
                </a:cubicBezTo>
                <a:cubicBezTo>
                  <a:pt x="254" y="247"/>
                  <a:pt x="286" y="215"/>
                  <a:pt x="326" y="215"/>
                </a:cubicBezTo>
                <a:cubicBezTo>
                  <a:pt x="365" y="215"/>
                  <a:pt x="397" y="247"/>
                  <a:pt x="397" y="286"/>
                </a:cubicBezTo>
                <a:cubicBezTo>
                  <a:pt x="397" y="313"/>
                  <a:pt x="398" y="336"/>
                  <a:pt x="362" y="348"/>
                </a:cubicBezTo>
                <a:lnTo>
                  <a:pt x="362" y="680"/>
                </a:lnTo>
                <a:lnTo>
                  <a:pt x="370" y="680"/>
                </a:lnTo>
                <a:lnTo>
                  <a:pt x="435" y="456"/>
                </a:lnTo>
                <a:lnTo>
                  <a:pt x="573" y="245"/>
                </a:lnTo>
                <a:cubicBezTo>
                  <a:pt x="536" y="142"/>
                  <a:pt x="436" y="72"/>
                  <a:pt x="326" y="72"/>
                </a:cubicBezTo>
                <a:cubicBezTo>
                  <a:pt x="215" y="72"/>
                  <a:pt x="116" y="142"/>
                  <a:pt x="79" y="245"/>
                </a:cubicBezTo>
                <a:lnTo>
                  <a:pt x="212" y="446"/>
                </a:lnTo>
                <a:close/>
                <a:moveTo>
                  <a:pt x="5" y="241"/>
                </a:moveTo>
                <a:cubicBezTo>
                  <a:pt x="46" y="99"/>
                  <a:pt x="178" y="0"/>
                  <a:pt x="326" y="0"/>
                </a:cubicBezTo>
                <a:cubicBezTo>
                  <a:pt x="473" y="0"/>
                  <a:pt x="605" y="99"/>
                  <a:pt x="647" y="241"/>
                </a:cubicBezTo>
                <a:lnTo>
                  <a:pt x="651" y="257"/>
                </a:lnTo>
                <a:lnTo>
                  <a:pt x="502" y="481"/>
                </a:lnTo>
                <a:lnTo>
                  <a:pt x="424" y="752"/>
                </a:lnTo>
                <a:lnTo>
                  <a:pt x="227" y="752"/>
                </a:lnTo>
                <a:lnTo>
                  <a:pt x="150" y="481"/>
                </a:lnTo>
                <a:lnTo>
                  <a:pt x="0" y="257"/>
                </a:lnTo>
                <a:lnTo>
                  <a:pt x="5" y="24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2" name="Freeform 40"/>
          <p:cNvSpPr>
            <a:spLocks noEditPoints="1"/>
          </p:cNvSpPr>
          <p:nvPr/>
        </p:nvSpPr>
        <p:spPr bwMode="auto">
          <a:xfrm>
            <a:off x="3585527" y="1831707"/>
            <a:ext cx="588580" cy="492248"/>
          </a:xfrm>
          <a:custGeom>
            <a:avLst/>
            <a:gdLst>
              <a:gd name="T0" fmla="*/ 716 w 859"/>
              <a:gd name="T1" fmla="*/ 0 h 716"/>
              <a:gd name="T2" fmla="*/ 143 w 859"/>
              <a:gd name="T3" fmla="*/ 0 h 716"/>
              <a:gd name="T4" fmla="*/ 0 w 859"/>
              <a:gd name="T5" fmla="*/ 143 h 716"/>
              <a:gd name="T6" fmla="*/ 143 w 859"/>
              <a:gd name="T7" fmla="*/ 286 h 716"/>
              <a:gd name="T8" fmla="*/ 286 w 859"/>
              <a:gd name="T9" fmla="*/ 143 h 716"/>
              <a:gd name="T10" fmla="*/ 215 w 859"/>
              <a:gd name="T11" fmla="*/ 143 h 716"/>
              <a:gd name="T12" fmla="*/ 143 w 859"/>
              <a:gd name="T13" fmla="*/ 215 h 716"/>
              <a:gd name="T14" fmla="*/ 72 w 859"/>
              <a:gd name="T15" fmla="*/ 143 h 716"/>
              <a:gd name="T16" fmla="*/ 143 w 859"/>
              <a:gd name="T17" fmla="*/ 72 h 716"/>
              <a:gd name="T18" fmla="*/ 716 w 859"/>
              <a:gd name="T19" fmla="*/ 72 h 716"/>
              <a:gd name="T20" fmla="*/ 788 w 859"/>
              <a:gd name="T21" fmla="*/ 143 h 716"/>
              <a:gd name="T22" fmla="*/ 716 w 859"/>
              <a:gd name="T23" fmla="*/ 215 h 716"/>
              <a:gd name="T24" fmla="*/ 645 w 859"/>
              <a:gd name="T25" fmla="*/ 143 h 716"/>
              <a:gd name="T26" fmla="*/ 573 w 859"/>
              <a:gd name="T27" fmla="*/ 143 h 716"/>
              <a:gd name="T28" fmla="*/ 716 w 859"/>
              <a:gd name="T29" fmla="*/ 286 h 716"/>
              <a:gd name="T30" fmla="*/ 859 w 859"/>
              <a:gd name="T31" fmla="*/ 143 h 716"/>
              <a:gd name="T32" fmla="*/ 716 w 859"/>
              <a:gd name="T33" fmla="*/ 0 h 716"/>
              <a:gd name="T34" fmla="*/ 394 w 859"/>
              <a:gd name="T35" fmla="*/ 143 h 716"/>
              <a:gd name="T36" fmla="*/ 394 w 859"/>
              <a:gd name="T37" fmla="*/ 573 h 716"/>
              <a:gd name="T38" fmla="*/ 465 w 859"/>
              <a:gd name="T39" fmla="*/ 573 h 716"/>
              <a:gd name="T40" fmla="*/ 465 w 859"/>
              <a:gd name="T41" fmla="*/ 143 h 716"/>
              <a:gd name="T42" fmla="*/ 394 w 859"/>
              <a:gd name="T43" fmla="*/ 143 h 716"/>
              <a:gd name="T44" fmla="*/ 537 w 859"/>
              <a:gd name="T45" fmla="*/ 262 h 716"/>
              <a:gd name="T46" fmla="*/ 537 w 859"/>
              <a:gd name="T47" fmla="*/ 573 h 716"/>
              <a:gd name="T48" fmla="*/ 609 w 859"/>
              <a:gd name="T49" fmla="*/ 573 h 716"/>
              <a:gd name="T50" fmla="*/ 609 w 859"/>
              <a:gd name="T51" fmla="*/ 329 h 716"/>
              <a:gd name="T52" fmla="*/ 537 w 859"/>
              <a:gd name="T53" fmla="*/ 262 h 716"/>
              <a:gd name="T54" fmla="*/ 250 w 859"/>
              <a:gd name="T55" fmla="*/ 329 h 716"/>
              <a:gd name="T56" fmla="*/ 250 w 859"/>
              <a:gd name="T57" fmla="*/ 573 h 716"/>
              <a:gd name="T58" fmla="*/ 322 w 859"/>
              <a:gd name="T59" fmla="*/ 573 h 716"/>
              <a:gd name="T60" fmla="*/ 322 w 859"/>
              <a:gd name="T61" fmla="*/ 262 h 716"/>
              <a:gd name="T62" fmla="*/ 250 w 859"/>
              <a:gd name="T63" fmla="*/ 329 h 716"/>
              <a:gd name="T64" fmla="*/ 143 w 859"/>
              <a:gd name="T65" fmla="*/ 716 h 716"/>
              <a:gd name="T66" fmla="*/ 716 w 859"/>
              <a:gd name="T67" fmla="*/ 716 h 716"/>
              <a:gd name="T68" fmla="*/ 716 w 859"/>
              <a:gd name="T69" fmla="*/ 645 h 716"/>
              <a:gd name="T70" fmla="*/ 143 w 859"/>
              <a:gd name="T71" fmla="*/ 645 h 716"/>
              <a:gd name="T72" fmla="*/ 143 w 859"/>
              <a:gd name="T73" fmla="*/ 716 h 7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859" h="716">
                <a:moveTo>
                  <a:pt x="716" y="0"/>
                </a:moveTo>
                <a:lnTo>
                  <a:pt x="143" y="0"/>
                </a:lnTo>
                <a:cubicBezTo>
                  <a:pt x="64" y="0"/>
                  <a:pt x="0" y="64"/>
                  <a:pt x="0" y="143"/>
                </a:cubicBezTo>
                <a:cubicBezTo>
                  <a:pt x="0" y="222"/>
                  <a:pt x="64" y="286"/>
                  <a:pt x="143" y="286"/>
                </a:cubicBezTo>
                <a:cubicBezTo>
                  <a:pt x="222" y="286"/>
                  <a:pt x="286" y="215"/>
                  <a:pt x="286" y="143"/>
                </a:cubicBezTo>
                <a:lnTo>
                  <a:pt x="215" y="143"/>
                </a:lnTo>
                <a:cubicBezTo>
                  <a:pt x="215" y="179"/>
                  <a:pt x="183" y="215"/>
                  <a:pt x="143" y="215"/>
                </a:cubicBezTo>
                <a:cubicBezTo>
                  <a:pt x="104" y="215"/>
                  <a:pt x="72" y="183"/>
                  <a:pt x="72" y="143"/>
                </a:cubicBezTo>
                <a:cubicBezTo>
                  <a:pt x="72" y="104"/>
                  <a:pt x="104" y="72"/>
                  <a:pt x="143" y="72"/>
                </a:cubicBezTo>
                <a:lnTo>
                  <a:pt x="716" y="72"/>
                </a:lnTo>
                <a:cubicBezTo>
                  <a:pt x="756" y="72"/>
                  <a:pt x="788" y="104"/>
                  <a:pt x="788" y="143"/>
                </a:cubicBezTo>
                <a:cubicBezTo>
                  <a:pt x="788" y="183"/>
                  <a:pt x="756" y="215"/>
                  <a:pt x="716" y="215"/>
                </a:cubicBezTo>
                <a:cubicBezTo>
                  <a:pt x="677" y="215"/>
                  <a:pt x="645" y="179"/>
                  <a:pt x="645" y="143"/>
                </a:cubicBezTo>
                <a:lnTo>
                  <a:pt x="573" y="143"/>
                </a:lnTo>
                <a:cubicBezTo>
                  <a:pt x="573" y="215"/>
                  <a:pt x="637" y="286"/>
                  <a:pt x="716" y="286"/>
                </a:cubicBezTo>
                <a:cubicBezTo>
                  <a:pt x="795" y="286"/>
                  <a:pt x="859" y="222"/>
                  <a:pt x="859" y="143"/>
                </a:cubicBezTo>
                <a:cubicBezTo>
                  <a:pt x="859" y="64"/>
                  <a:pt x="795" y="0"/>
                  <a:pt x="716" y="0"/>
                </a:cubicBezTo>
                <a:close/>
                <a:moveTo>
                  <a:pt x="394" y="143"/>
                </a:moveTo>
                <a:lnTo>
                  <a:pt x="394" y="573"/>
                </a:lnTo>
                <a:lnTo>
                  <a:pt x="465" y="573"/>
                </a:lnTo>
                <a:lnTo>
                  <a:pt x="465" y="143"/>
                </a:lnTo>
                <a:lnTo>
                  <a:pt x="394" y="143"/>
                </a:lnTo>
                <a:close/>
                <a:moveTo>
                  <a:pt x="537" y="262"/>
                </a:moveTo>
                <a:lnTo>
                  <a:pt x="537" y="573"/>
                </a:lnTo>
                <a:lnTo>
                  <a:pt x="609" y="573"/>
                </a:lnTo>
                <a:lnTo>
                  <a:pt x="609" y="329"/>
                </a:lnTo>
                <a:cubicBezTo>
                  <a:pt x="573" y="312"/>
                  <a:pt x="573" y="289"/>
                  <a:pt x="537" y="262"/>
                </a:cubicBezTo>
                <a:close/>
                <a:moveTo>
                  <a:pt x="250" y="329"/>
                </a:moveTo>
                <a:lnTo>
                  <a:pt x="250" y="573"/>
                </a:lnTo>
                <a:lnTo>
                  <a:pt x="322" y="573"/>
                </a:lnTo>
                <a:lnTo>
                  <a:pt x="322" y="262"/>
                </a:lnTo>
                <a:cubicBezTo>
                  <a:pt x="286" y="289"/>
                  <a:pt x="286" y="312"/>
                  <a:pt x="250" y="329"/>
                </a:cubicBezTo>
                <a:close/>
                <a:moveTo>
                  <a:pt x="143" y="716"/>
                </a:moveTo>
                <a:lnTo>
                  <a:pt x="716" y="716"/>
                </a:lnTo>
                <a:lnTo>
                  <a:pt x="716" y="645"/>
                </a:lnTo>
                <a:lnTo>
                  <a:pt x="143" y="645"/>
                </a:lnTo>
                <a:lnTo>
                  <a:pt x="143" y="71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6" name="Freeform 44"/>
          <p:cNvSpPr>
            <a:spLocks noEditPoints="1"/>
          </p:cNvSpPr>
          <p:nvPr/>
        </p:nvSpPr>
        <p:spPr bwMode="auto">
          <a:xfrm>
            <a:off x="10966795" y="509538"/>
            <a:ext cx="573565" cy="621313"/>
          </a:xfrm>
          <a:custGeom>
            <a:avLst/>
            <a:gdLst>
              <a:gd name="T0" fmla="*/ 583 w 837"/>
              <a:gd name="T1" fmla="*/ 579 h 901"/>
              <a:gd name="T2" fmla="*/ 511 w 837"/>
              <a:gd name="T3" fmla="*/ 650 h 901"/>
              <a:gd name="T4" fmla="*/ 583 w 837"/>
              <a:gd name="T5" fmla="*/ 722 h 901"/>
              <a:gd name="T6" fmla="*/ 654 w 837"/>
              <a:gd name="T7" fmla="*/ 650 h 901"/>
              <a:gd name="T8" fmla="*/ 583 w 837"/>
              <a:gd name="T9" fmla="*/ 579 h 901"/>
              <a:gd name="T10" fmla="*/ 332 w 837"/>
              <a:gd name="T11" fmla="*/ 579 h 901"/>
              <a:gd name="T12" fmla="*/ 260 w 837"/>
              <a:gd name="T13" fmla="*/ 650 h 901"/>
              <a:gd name="T14" fmla="*/ 332 w 837"/>
              <a:gd name="T15" fmla="*/ 722 h 901"/>
              <a:gd name="T16" fmla="*/ 404 w 837"/>
              <a:gd name="T17" fmla="*/ 650 h 901"/>
              <a:gd name="T18" fmla="*/ 332 w 837"/>
              <a:gd name="T19" fmla="*/ 579 h 901"/>
              <a:gd name="T20" fmla="*/ 332 w 837"/>
              <a:gd name="T21" fmla="*/ 435 h 901"/>
              <a:gd name="T22" fmla="*/ 260 w 837"/>
              <a:gd name="T23" fmla="*/ 364 h 901"/>
              <a:gd name="T24" fmla="*/ 189 w 837"/>
              <a:gd name="T25" fmla="*/ 435 h 901"/>
              <a:gd name="T26" fmla="*/ 260 w 837"/>
              <a:gd name="T27" fmla="*/ 507 h 901"/>
              <a:gd name="T28" fmla="*/ 332 w 837"/>
              <a:gd name="T29" fmla="*/ 435 h 901"/>
              <a:gd name="T30" fmla="*/ 404 w 837"/>
              <a:gd name="T31" fmla="*/ 185 h 901"/>
              <a:gd name="T32" fmla="*/ 332 w 837"/>
              <a:gd name="T33" fmla="*/ 256 h 901"/>
              <a:gd name="T34" fmla="*/ 404 w 837"/>
              <a:gd name="T35" fmla="*/ 328 h 901"/>
              <a:gd name="T36" fmla="*/ 475 w 837"/>
              <a:gd name="T37" fmla="*/ 256 h 901"/>
              <a:gd name="T38" fmla="*/ 404 w 837"/>
              <a:gd name="T39" fmla="*/ 185 h 901"/>
              <a:gd name="T40" fmla="*/ 757 w 837"/>
              <a:gd name="T41" fmla="*/ 635 h 901"/>
              <a:gd name="T42" fmla="*/ 698 w 837"/>
              <a:gd name="T43" fmla="*/ 711 h 901"/>
              <a:gd name="T44" fmla="*/ 429 w 837"/>
              <a:gd name="T45" fmla="*/ 829 h 901"/>
              <a:gd name="T46" fmla="*/ 207 w 837"/>
              <a:gd name="T47" fmla="*/ 738 h 901"/>
              <a:gd name="T48" fmla="*/ 233 w 837"/>
              <a:gd name="T49" fmla="*/ 231 h 901"/>
              <a:gd name="T50" fmla="*/ 502 w 837"/>
              <a:gd name="T51" fmla="*/ 113 h 901"/>
              <a:gd name="T52" fmla="*/ 658 w 837"/>
              <a:gd name="T53" fmla="*/ 154 h 901"/>
              <a:gd name="T54" fmla="*/ 675 w 837"/>
              <a:gd name="T55" fmla="*/ 177 h 901"/>
              <a:gd name="T56" fmla="*/ 665 w 837"/>
              <a:gd name="T57" fmla="*/ 208 h 901"/>
              <a:gd name="T58" fmla="*/ 602 w 837"/>
              <a:gd name="T59" fmla="*/ 366 h 901"/>
              <a:gd name="T60" fmla="*/ 744 w 837"/>
              <a:gd name="T61" fmla="*/ 584 h 901"/>
              <a:gd name="T62" fmla="*/ 760 w 837"/>
              <a:gd name="T63" fmla="*/ 605 h 901"/>
              <a:gd name="T64" fmla="*/ 757 w 837"/>
              <a:gd name="T65" fmla="*/ 635 h 901"/>
              <a:gd name="T66" fmla="*/ 829 w 837"/>
              <a:gd name="T67" fmla="*/ 585 h 901"/>
              <a:gd name="T68" fmla="*/ 776 w 837"/>
              <a:gd name="T69" fmla="*/ 520 h 901"/>
              <a:gd name="T70" fmla="*/ 673 w 837"/>
              <a:gd name="T71" fmla="*/ 366 h 901"/>
              <a:gd name="T72" fmla="*/ 718 w 837"/>
              <a:gd name="T73" fmla="*/ 257 h 901"/>
              <a:gd name="T74" fmla="*/ 746 w 837"/>
              <a:gd name="T75" fmla="*/ 166 h 901"/>
              <a:gd name="T76" fmla="*/ 694 w 837"/>
              <a:gd name="T77" fmla="*/ 92 h 901"/>
              <a:gd name="T78" fmla="*/ 181 w 837"/>
              <a:gd name="T79" fmla="*/ 181 h 901"/>
              <a:gd name="T80" fmla="*/ 156 w 837"/>
              <a:gd name="T81" fmla="*/ 788 h 901"/>
              <a:gd name="T82" fmla="*/ 429 w 837"/>
              <a:gd name="T83" fmla="*/ 901 h 901"/>
              <a:gd name="T84" fmla="*/ 749 w 837"/>
              <a:gd name="T85" fmla="*/ 761 h 901"/>
              <a:gd name="T86" fmla="*/ 818 w 837"/>
              <a:gd name="T87" fmla="*/ 672 h 901"/>
              <a:gd name="T88" fmla="*/ 829 w 837"/>
              <a:gd name="T89" fmla="*/ 585 h 9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837" h="901">
                <a:moveTo>
                  <a:pt x="583" y="579"/>
                </a:moveTo>
                <a:cubicBezTo>
                  <a:pt x="543" y="579"/>
                  <a:pt x="511" y="611"/>
                  <a:pt x="511" y="650"/>
                </a:cubicBezTo>
                <a:cubicBezTo>
                  <a:pt x="511" y="690"/>
                  <a:pt x="543" y="722"/>
                  <a:pt x="583" y="722"/>
                </a:cubicBezTo>
                <a:cubicBezTo>
                  <a:pt x="622" y="722"/>
                  <a:pt x="654" y="690"/>
                  <a:pt x="654" y="650"/>
                </a:cubicBezTo>
                <a:cubicBezTo>
                  <a:pt x="654" y="611"/>
                  <a:pt x="622" y="579"/>
                  <a:pt x="583" y="579"/>
                </a:cubicBezTo>
                <a:close/>
                <a:moveTo>
                  <a:pt x="332" y="579"/>
                </a:moveTo>
                <a:cubicBezTo>
                  <a:pt x="292" y="579"/>
                  <a:pt x="260" y="611"/>
                  <a:pt x="260" y="650"/>
                </a:cubicBezTo>
                <a:cubicBezTo>
                  <a:pt x="260" y="690"/>
                  <a:pt x="292" y="722"/>
                  <a:pt x="332" y="722"/>
                </a:cubicBezTo>
                <a:cubicBezTo>
                  <a:pt x="372" y="722"/>
                  <a:pt x="404" y="690"/>
                  <a:pt x="404" y="650"/>
                </a:cubicBezTo>
                <a:cubicBezTo>
                  <a:pt x="404" y="611"/>
                  <a:pt x="372" y="579"/>
                  <a:pt x="332" y="579"/>
                </a:cubicBezTo>
                <a:close/>
                <a:moveTo>
                  <a:pt x="332" y="435"/>
                </a:moveTo>
                <a:cubicBezTo>
                  <a:pt x="332" y="396"/>
                  <a:pt x="300" y="364"/>
                  <a:pt x="260" y="364"/>
                </a:cubicBezTo>
                <a:cubicBezTo>
                  <a:pt x="221" y="364"/>
                  <a:pt x="189" y="396"/>
                  <a:pt x="189" y="435"/>
                </a:cubicBezTo>
                <a:cubicBezTo>
                  <a:pt x="189" y="475"/>
                  <a:pt x="221" y="507"/>
                  <a:pt x="260" y="507"/>
                </a:cubicBezTo>
                <a:cubicBezTo>
                  <a:pt x="300" y="507"/>
                  <a:pt x="332" y="475"/>
                  <a:pt x="332" y="435"/>
                </a:cubicBezTo>
                <a:close/>
                <a:moveTo>
                  <a:pt x="404" y="185"/>
                </a:moveTo>
                <a:cubicBezTo>
                  <a:pt x="364" y="185"/>
                  <a:pt x="332" y="217"/>
                  <a:pt x="332" y="256"/>
                </a:cubicBezTo>
                <a:cubicBezTo>
                  <a:pt x="332" y="296"/>
                  <a:pt x="364" y="328"/>
                  <a:pt x="404" y="328"/>
                </a:cubicBezTo>
                <a:cubicBezTo>
                  <a:pt x="443" y="328"/>
                  <a:pt x="475" y="296"/>
                  <a:pt x="475" y="256"/>
                </a:cubicBezTo>
                <a:cubicBezTo>
                  <a:pt x="475" y="217"/>
                  <a:pt x="443" y="185"/>
                  <a:pt x="404" y="185"/>
                </a:cubicBezTo>
                <a:close/>
                <a:moveTo>
                  <a:pt x="757" y="635"/>
                </a:moveTo>
                <a:cubicBezTo>
                  <a:pt x="740" y="663"/>
                  <a:pt x="721" y="688"/>
                  <a:pt x="698" y="711"/>
                </a:cubicBezTo>
                <a:cubicBezTo>
                  <a:pt x="625" y="786"/>
                  <a:pt x="527" y="829"/>
                  <a:pt x="429" y="829"/>
                </a:cubicBezTo>
                <a:cubicBezTo>
                  <a:pt x="343" y="829"/>
                  <a:pt x="265" y="797"/>
                  <a:pt x="207" y="738"/>
                </a:cubicBezTo>
                <a:cubicBezTo>
                  <a:pt x="78" y="605"/>
                  <a:pt x="89" y="378"/>
                  <a:pt x="233" y="231"/>
                </a:cubicBezTo>
                <a:cubicBezTo>
                  <a:pt x="308" y="154"/>
                  <a:pt x="406" y="113"/>
                  <a:pt x="502" y="113"/>
                </a:cubicBezTo>
                <a:cubicBezTo>
                  <a:pt x="557" y="113"/>
                  <a:pt x="610" y="126"/>
                  <a:pt x="658" y="154"/>
                </a:cubicBezTo>
                <a:cubicBezTo>
                  <a:pt x="668" y="159"/>
                  <a:pt x="674" y="167"/>
                  <a:pt x="675" y="177"/>
                </a:cubicBezTo>
                <a:cubicBezTo>
                  <a:pt x="677" y="188"/>
                  <a:pt x="673" y="199"/>
                  <a:pt x="665" y="208"/>
                </a:cubicBezTo>
                <a:cubicBezTo>
                  <a:pt x="624" y="253"/>
                  <a:pt x="602" y="309"/>
                  <a:pt x="602" y="366"/>
                </a:cubicBezTo>
                <a:cubicBezTo>
                  <a:pt x="602" y="456"/>
                  <a:pt x="656" y="540"/>
                  <a:pt x="744" y="584"/>
                </a:cubicBezTo>
                <a:cubicBezTo>
                  <a:pt x="754" y="590"/>
                  <a:pt x="759" y="600"/>
                  <a:pt x="760" y="605"/>
                </a:cubicBezTo>
                <a:cubicBezTo>
                  <a:pt x="763" y="615"/>
                  <a:pt x="762" y="626"/>
                  <a:pt x="757" y="635"/>
                </a:cubicBezTo>
                <a:close/>
                <a:moveTo>
                  <a:pt x="829" y="585"/>
                </a:moveTo>
                <a:cubicBezTo>
                  <a:pt x="821" y="557"/>
                  <a:pt x="801" y="533"/>
                  <a:pt x="776" y="520"/>
                </a:cubicBezTo>
                <a:cubicBezTo>
                  <a:pt x="713" y="488"/>
                  <a:pt x="673" y="429"/>
                  <a:pt x="673" y="366"/>
                </a:cubicBezTo>
                <a:cubicBezTo>
                  <a:pt x="673" y="326"/>
                  <a:pt x="689" y="288"/>
                  <a:pt x="718" y="257"/>
                </a:cubicBezTo>
                <a:cubicBezTo>
                  <a:pt x="741" y="231"/>
                  <a:pt x="751" y="198"/>
                  <a:pt x="746" y="166"/>
                </a:cubicBezTo>
                <a:cubicBezTo>
                  <a:pt x="741" y="135"/>
                  <a:pt x="722" y="108"/>
                  <a:pt x="694" y="92"/>
                </a:cubicBezTo>
                <a:cubicBezTo>
                  <a:pt x="533" y="0"/>
                  <a:pt x="323" y="37"/>
                  <a:pt x="181" y="181"/>
                </a:cubicBezTo>
                <a:cubicBezTo>
                  <a:pt x="11" y="356"/>
                  <a:pt x="0" y="628"/>
                  <a:pt x="156" y="788"/>
                </a:cubicBezTo>
                <a:cubicBezTo>
                  <a:pt x="227" y="861"/>
                  <a:pt x="324" y="901"/>
                  <a:pt x="429" y="901"/>
                </a:cubicBezTo>
                <a:cubicBezTo>
                  <a:pt x="546" y="901"/>
                  <a:pt x="663" y="850"/>
                  <a:pt x="749" y="761"/>
                </a:cubicBezTo>
                <a:cubicBezTo>
                  <a:pt x="776" y="734"/>
                  <a:pt x="799" y="704"/>
                  <a:pt x="818" y="672"/>
                </a:cubicBezTo>
                <a:cubicBezTo>
                  <a:pt x="833" y="646"/>
                  <a:pt x="837" y="615"/>
                  <a:pt x="829" y="58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67" name="Freeform 45"/>
          <p:cNvSpPr>
            <a:spLocks noEditPoints="1"/>
          </p:cNvSpPr>
          <p:nvPr/>
        </p:nvSpPr>
        <p:spPr bwMode="auto">
          <a:xfrm>
            <a:off x="630619" y="1794187"/>
            <a:ext cx="588580" cy="567288"/>
          </a:xfrm>
          <a:custGeom>
            <a:avLst/>
            <a:gdLst>
              <a:gd name="T0" fmla="*/ 573 w 859"/>
              <a:gd name="T1" fmla="*/ 573 h 824"/>
              <a:gd name="T2" fmla="*/ 573 w 859"/>
              <a:gd name="T3" fmla="*/ 645 h 824"/>
              <a:gd name="T4" fmla="*/ 859 w 859"/>
              <a:gd name="T5" fmla="*/ 645 h 824"/>
              <a:gd name="T6" fmla="*/ 859 w 859"/>
              <a:gd name="T7" fmla="*/ 573 h 824"/>
              <a:gd name="T8" fmla="*/ 573 w 859"/>
              <a:gd name="T9" fmla="*/ 573 h 824"/>
              <a:gd name="T10" fmla="*/ 787 w 859"/>
              <a:gd name="T11" fmla="*/ 537 h 824"/>
              <a:gd name="T12" fmla="*/ 787 w 859"/>
              <a:gd name="T13" fmla="*/ 466 h 824"/>
              <a:gd name="T14" fmla="*/ 573 w 859"/>
              <a:gd name="T15" fmla="*/ 466 h 824"/>
              <a:gd name="T16" fmla="*/ 573 w 859"/>
              <a:gd name="T17" fmla="*/ 537 h 824"/>
              <a:gd name="T18" fmla="*/ 787 w 859"/>
              <a:gd name="T19" fmla="*/ 537 h 824"/>
              <a:gd name="T20" fmla="*/ 250 w 859"/>
              <a:gd name="T21" fmla="*/ 430 h 824"/>
              <a:gd name="T22" fmla="*/ 250 w 859"/>
              <a:gd name="T23" fmla="*/ 698 h 824"/>
              <a:gd name="T24" fmla="*/ 394 w 859"/>
              <a:gd name="T25" fmla="*/ 627 h 824"/>
              <a:gd name="T26" fmla="*/ 537 w 859"/>
              <a:gd name="T27" fmla="*/ 698 h 824"/>
              <a:gd name="T28" fmla="*/ 537 w 859"/>
              <a:gd name="T29" fmla="*/ 430 h 824"/>
              <a:gd name="T30" fmla="*/ 465 w 859"/>
              <a:gd name="T31" fmla="*/ 430 h 824"/>
              <a:gd name="T32" fmla="*/ 465 w 859"/>
              <a:gd name="T33" fmla="*/ 582 h 824"/>
              <a:gd name="T34" fmla="*/ 394 w 859"/>
              <a:gd name="T35" fmla="*/ 547 h 824"/>
              <a:gd name="T36" fmla="*/ 322 w 859"/>
              <a:gd name="T37" fmla="*/ 582 h 824"/>
              <a:gd name="T38" fmla="*/ 322 w 859"/>
              <a:gd name="T39" fmla="*/ 430 h 824"/>
              <a:gd name="T40" fmla="*/ 250 w 859"/>
              <a:gd name="T41" fmla="*/ 430 h 824"/>
              <a:gd name="T42" fmla="*/ 788 w 859"/>
              <a:gd name="T43" fmla="*/ 125 h 824"/>
              <a:gd name="T44" fmla="*/ 662 w 859"/>
              <a:gd name="T45" fmla="*/ 0 h 824"/>
              <a:gd name="T46" fmla="*/ 143 w 859"/>
              <a:gd name="T47" fmla="*/ 0 h 824"/>
              <a:gd name="T48" fmla="*/ 143 w 859"/>
              <a:gd name="T49" fmla="*/ 72 h 824"/>
              <a:gd name="T50" fmla="*/ 662 w 859"/>
              <a:gd name="T51" fmla="*/ 72 h 824"/>
              <a:gd name="T52" fmla="*/ 716 w 859"/>
              <a:gd name="T53" fmla="*/ 125 h 824"/>
              <a:gd name="T54" fmla="*/ 662 w 859"/>
              <a:gd name="T55" fmla="*/ 179 h 824"/>
              <a:gd name="T56" fmla="*/ 143 w 859"/>
              <a:gd name="T57" fmla="*/ 179 h 824"/>
              <a:gd name="T58" fmla="*/ 143 w 859"/>
              <a:gd name="T59" fmla="*/ 251 h 824"/>
              <a:gd name="T60" fmla="*/ 662 w 859"/>
              <a:gd name="T61" fmla="*/ 251 h 824"/>
              <a:gd name="T62" fmla="*/ 788 w 859"/>
              <a:gd name="T63" fmla="*/ 125 h 824"/>
              <a:gd name="T64" fmla="*/ 197 w 859"/>
              <a:gd name="T65" fmla="*/ 537 h 824"/>
              <a:gd name="T66" fmla="*/ 214 w 859"/>
              <a:gd name="T67" fmla="*/ 537 h 824"/>
              <a:gd name="T68" fmla="*/ 214 w 859"/>
              <a:gd name="T69" fmla="*/ 466 h 824"/>
              <a:gd name="T70" fmla="*/ 197 w 859"/>
              <a:gd name="T71" fmla="*/ 466 h 824"/>
              <a:gd name="T72" fmla="*/ 143 w 859"/>
              <a:gd name="T73" fmla="*/ 412 h 824"/>
              <a:gd name="T74" fmla="*/ 197 w 859"/>
              <a:gd name="T75" fmla="*/ 358 h 824"/>
              <a:gd name="T76" fmla="*/ 787 w 859"/>
              <a:gd name="T77" fmla="*/ 358 h 824"/>
              <a:gd name="T78" fmla="*/ 787 w 859"/>
              <a:gd name="T79" fmla="*/ 286 h 824"/>
              <a:gd name="T80" fmla="*/ 197 w 859"/>
              <a:gd name="T81" fmla="*/ 286 h 824"/>
              <a:gd name="T82" fmla="*/ 71 w 859"/>
              <a:gd name="T83" fmla="*/ 412 h 824"/>
              <a:gd name="T84" fmla="*/ 197 w 859"/>
              <a:gd name="T85" fmla="*/ 537 h 824"/>
              <a:gd name="T86" fmla="*/ 71 w 859"/>
              <a:gd name="T87" fmla="*/ 698 h 824"/>
              <a:gd name="T88" fmla="*/ 125 w 859"/>
              <a:gd name="T89" fmla="*/ 645 h 824"/>
              <a:gd name="T90" fmla="*/ 214 w 859"/>
              <a:gd name="T91" fmla="*/ 645 h 824"/>
              <a:gd name="T92" fmla="*/ 214 w 859"/>
              <a:gd name="T93" fmla="*/ 573 h 824"/>
              <a:gd name="T94" fmla="*/ 125 w 859"/>
              <a:gd name="T95" fmla="*/ 573 h 824"/>
              <a:gd name="T96" fmla="*/ 0 w 859"/>
              <a:gd name="T97" fmla="*/ 698 h 824"/>
              <a:gd name="T98" fmla="*/ 125 w 859"/>
              <a:gd name="T99" fmla="*/ 824 h 824"/>
              <a:gd name="T100" fmla="*/ 859 w 859"/>
              <a:gd name="T101" fmla="*/ 824 h 824"/>
              <a:gd name="T102" fmla="*/ 859 w 859"/>
              <a:gd name="T103" fmla="*/ 752 h 824"/>
              <a:gd name="T104" fmla="*/ 125 w 859"/>
              <a:gd name="T105" fmla="*/ 752 h 824"/>
              <a:gd name="T106" fmla="*/ 71 w 859"/>
              <a:gd name="T107" fmla="*/ 698 h 8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59" h="824">
                <a:moveTo>
                  <a:pt x="573" y="573"/>
                </a:moveTo>
                <a:lnTo>
                  <a:pt x="573" y="645"/>
                </a:lnTo>
                <a:lnTo>
                  <a:pt x="859" y="645"/>
                </a:lnTo>
                <a:lnTo>
                  <a:pt x="859" y="573"/>
                </a:lnTo>
                <a:lnTo>
                  <a:pt x="573" y="573"/>
                </a:lnTo>
                <a:close/>
                <a:moveTo>
                  <a:pt x="787" y="537"/>
                </a:moveTo>
                <a:lnTo>
                  <a:pt x="787" y="466"/>
                </a:lnTo>
                <a:lnTo>
                  <a:pt x="573" y="466"/>
                </a:lnTo>
                <a:lnTo>
                  <a:pt x="573" y="537"/>
                </a:lnTo>
                <a:lnTo>
                  <a:pt x="787" y="537"/>
                </a:lnTo>
                <a:close/>
                <a:moveTo>
                  <a:pt x="250" y="430"/>
                </a:moveTo>
                <a:lnTo>
                  <a:pt x="250" y="698"/>
                </a:lnTo>
                <a:lnTo>
                  <a:pt x="394" y="627"/>
                </a:lnTo>
                <a:lnTo>
                  <a:pt x="537" y="698"/>
                </a:lnTo>
                <a:lnTo>
                  <a:pt x="537" y="430"/>
                </a:lnTo>
                <a:lnTo>
                  <a:pt x="465" y="430"/>
                </a:lnTo>
                <a:lnTo>
                  <a:pt x="465" y="582"/>
                </a:lnTo>
                <a:lnTo>
                  <a:pt x="394" y="547"/>
                </a:lnTo>
                <a:lnTo>
                  <a:pt x="322" y="582"/>
                </a:lnTo>
                <a:lnTo>
                  <a:pt x="322" y="430"/>
                </a:lnTo>
                <a:lnTo>
                  <a:pt x="250" y="430"/>
                </a:lnTo>
                <a:close/>
                <a:moveTo>
                  <a:pt x="788" y="125"/>
                </a:moveTo>
                <a:cubicBezTo>
                  <a:pt x="788" y="56"/>
                  <a:pt x="731" y="0"/>
                  <a:pt x="662" y="0"/>
                </a:cubicBezTo>
                <a:lnTo>
                  <a:pt x="143" y="0"/>
                </a:lnTo>
                <a:lnTo>
                  <a:pt x="143" y="72"/>
                </a:lnTo>
                <a:lnTo>
                  <a:pt x="662" y="72"/>
                </a:lnTo>
                <a:cubicBezTo>
                  <a:pt x="692" y="72"/>
                  <a:pt x="716" y="96"/>
                  <a:pt x="716" y="125"/>
                </a:cubicBezTo>
                <a:cubicBezTo>
                  <a:pt x="716" y="155"/>
                  <a:pt x="692" y="179"/>
                  <a:pt x="662" y="179"/>
                </a:cubicBezTo>
                <a:lnTo>
                  <a:pt x="143" y="179"/>
                </a:lnTo>
                <a:lnTo>
                  <a:pt x="143" y="251"/>
                </a:lnTo>
                <a:lnTo>
                  <a:pt x="662" y="251"/>
                </a:lnTo>
                <a:cubicBezTo>
                  <a:pt x="731" y="251"/>
                  <a:pt x="788" y="194"/>
                  <a:pt x="788" y="125"/>
                </a:cubicBezTo>
                <a:close/>
                <a:moveTo>
                  <a:pt x="197" y="537"/>
                </a:moveTo>
                <a:lnTo>
                  <a:pt x="214" y="537"/>
                </a:lnTo>
                <a:lnTo>
                  <a:pt x="214" y="466"/>
                </a:lnTo>
                <a:lnTo>
                  <a:pt x="197" y="466"/>
                </a:lnTo>
                <a:cubicBezTo>
                  <a:pt x="167" y="466"/>
                  <a:pt x="143" y="441"/>
                  <a:pt x="143" y="412"/>
                </a:cubicBezTo>
                <a:cubicBezTo>
                  <a:pt x="143" y="382"/>
                  <a:pt x="167" y="358"/>
                  <a:pt x="197" y="358"/>
                </a:cubicBezTo>
                <a:lnTo>
                  <a:pt x="787" y="358"/>
                </a:lnTo>
                <a:lnTo>
                  <a:pt x="787" y="286"/>
                </a:lnTo>
                <a:lnTo>
                  <a:pt x="197" y="286"/>
                </a:lnTo>
                <a:cubicBezTo>
                  <a:pt x="128" y="286"/>
                  <a:pt x="71" y="343"/>
                  <a:pt x="71" y="412"/>
                </a:cubicBezTo>
                <a:cubicBezTo>
                  <a:pt x="71" y="481"/>
                  <a:pt x="128" y="537"/>
                  <a:pt x="197" y="537"/>
                </a:cubicBezTo>
                <a:close/>
                <a:moveTo>
                  <a:pt x="71" y="698"/>
                </a:moveTo>
                <a:cubicBezTo>
                  <a:pt x="71" y="669"/>
                  <a:pt x="95" y="645"/>
                  <a:pt x="125" y="645"/>
                </a:cubicBezTo>
                <a:lnTo>
                  <a:pt x="214" y="645"/>
                </a:lnTo>
                <a:lnTo>
                  <a:pt x="214" y="573"/>
                </a:lnTo>
                <a:lnTo>
                  <a:pt x="125" y="573"/>
                </a:lnTo>
                <a:cubicBezTo>
                  <a:pt x="56" y="573"/>
                  <a:pt x="0" y="629"/>
                  <a:pt x="0" y="698"/>
                </a:cubicBezTo>
                <a:cubicBezTo>
                  <a:pt x="0" y="767"/>
                  <a:pt x="56" y="824"/>
                  <a:pt x="125" y="824"/>
                </a:cubicBezTo>
                <a:lnTo>
                  <a:pt x="859" y="824"/>
                </a:lnTo>
                <a:lnTo>
                  <a:pt x="859" y="752"/>
                </a:lnTo>
                <a:lnTo>
                  <a:pt x="125" y="752"/>
                </a:lnTo>
                <a:cubicBezTo>
                  <a:pt x="95" y="752"/>
                  <a:pt x="71" y="728"/>
                  <a:pt x="71" y="698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0" name="Freeform 48"/>
          <p:cNvSpPr>
            <a:spLocks noEditPoints="1"/>
          </p:cNvSpPr>
          <p:nvPr/>
        </p:nvSpPr>
        <p:spPr bwMode="auto">
          <a:xfrm>
            <a:off x="5065986" y="538051"/>
            <a:ext cx="582575" cy="564285"/>
          </a:xfrm>
          <a:custGeom>
            <a:avLst/>
            <a:gdLst>
              <a:gd name="T0" fmla="*/ 388 w 848"/>
              <a:gd name="T1" fmla="*/ 486 h 821"/>
              <a:gd name="T2" fmla="*/ 291 w 848"/>
              <a:gd name="T3" fmla="*/ 583 h 821"/>
              <a:gd name="T4" fmla="*/ 342 w 848"/>
              <a:gd name="T5" fmla="*/ 634 h 821"/>
              <a:gd name="T6" fmla="*/ 460 w 848"/>
              <a:gd name="T7" fmla="*/ 516 h 821"/>
              <a:gd name="T8" fmla="*/ 460 w 848"/>
              <a:gd name="T9" fmla="*/ 267 h 821"/>
              <a:gd name="T10" fmla="*/ 388 w 848"/>
              <a:gd name="T11" fmla="*/ 267 h 821"/>
              <a:gd name="T12" fmla="*/ 388 w 848"/>
              <a:gd name="T13" fmla="*/ 486 h 821"/>
              <a:gd name="T14" fmla="*/ 172 w 848"/>
              <a:gd name="T15" fmla="*/ 118 h 821"/>
              <a:gd name="T16" fmla="*/ 259 w 848"/>
              <a:gd name="T17" fmla="*/ 69 h 821"/>
              <a:gd name="T18" fmla="*/ 231 w 848"/>
              <a:gd name="T19" fmla="*/ 3 h 821"/>
              <a:gd name="T20" fmla="*/ 130 w 848"/>
              <a:gd name="T21" fmla="*/ 60 h 821"/>
              <a:gd name="T22" fmla="*/ 0 w 848"/>
              <a:gd name="T23" fmla="*/ 195 h 821"/>
              <a:gd name="T24" fmla="*/ 60 w 848"/>
              <a:gd name="T25" fmla="*/ 234 h 821"/>
              <a:gd name="T26" fmla="*/ 172 w 848"/>
              <a:gd name="T27" fmla="*/ 118 h 821"/>
              <a:gd name="T28" fmla="*/ 719 w 848"/>
              <a:gd name="T29" fmla="*/ 57 h 821"/>
              <a:gd name="T30" fmla="*/ 617 w 848"/>
              <a:gd name="T31" fmla="*/ 0 h 821"/>
              <a:gd name="T32" fmla="*/ 590 w 848"/>
              <a:gd name="T33" fmla="*/ 66 h 821"/>
              <a:gd name="T34" fmla="*/ 677 w 848"/>
              <a:gd name="T35" fmla="*/ 115 h 821"/>
              <a:gd name="T36" fmla="*/ 788 w 848"/>
              <a:gd name="T37" fmla="*/ 234 h 821"/>
              <a:gd name="T38" fmla="*/ 848 w 848"/>
              <a:gd name="T39" fmla="*/ 196 h 821"/>
              <a:gd name="T40" fmla="*/ 719 w 848"/>
              <a:gd name="T41" fmla="*/ 57 h 821"/>
              <a:gd name="T42" fmla="*/ 424 w 848"/>
              <a:gd name="T43" fmla="*/ 749 h 821"/>
              <a:gd name="T44" fmla="*/ 138 w 848"/>
              <a:gd name="T45" fmla="*/ 463 h 821"/>
              <a:gd name="T46" fmla="*/ 424 w 848"/>
              <a:gd name="T47" fmla="*/ 176 h 821"/>
              <a:gd name="T48" fmla="*/ 711 w 848"/>
              <a:gd name="T49" fmla="*/ 463 h 821"/>
              <a:gd name="T50" fmla="*/ 424 w 848"/>
              <a:gd name="T51" fmla="*/ 749 h 821"/>
              <a:gd name="T52" fmla="*/ 424 w 848"/>
              <a:gd name="T53" fmla="*/ 105 h 821"/>
              <a:gd name="T54" fmla="*/ 66 w 848"/>
              <a:gd name="T55" fmla="*/ 463 h 821"/>
              <a:gd name="T56" fmla="*/ 424 w 848"/>
              <a:gd name="T57" fmla="*/ 821 h 821"/>
              <a:gd name="T58" fmla="*/ 782 w 848"/>
              <a:gd name="T59" fmla="*/ 463 h 821"/>
              <a:gd name="T60" fmla="*/ 424 w 848"/>
              <a:gd name="T61" fmla="*/ 105 h 8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48" h="821">
                <a:moveTo>
                  <a:pt x="388" y="486"/>
                </a:moveTo>
                <a:lnTo>
                  <a:pt x="291" y="583"/>
                </a:lnTo>
                <a:lnTo>
                  <a:pt x="342" y="634"/>
                </a:lnTo>
                <a:lnTo>
                  <a:pt x="460" y="516"/>
                </a:lnTo>
                <a:lnTo>
                  <a:pt x="460" y="267"/>
                </a:lnTo>
                <a:lnTo>
                  <a:pt x="388" y="267"/>
                </a:lnTo>
                <a:lnTo>
                  <a:pt x="388" y="486"/>
                </a:lnTo>
                <a:close/>
                <a:moveTo>
                  <a:pt x="172" y="118"/>
                </a:moveTo>
                <a:cubicBezTo>
                  <a:pt x="199" y="98"/>
                  <a:pt x="228" y="82"/>
                  <a:pt x="259" y="69"/>
                </a:cubicBezTo>
                <a:lnTo>
                  <a:pt x="231" y="3"/>
                </a:lnTo>
                <a:cubicBezTo>
                  <a:pt x="195" y="18"/>
                  <a:pt x="161" y="37"/>
                  <a:pt x="130" y="60"/>
                </a:cubicBezTo>
                <a:cubicBezTo>
                  <a:pt x="76" y="98"/>
                  <a:pt x="33" y="144"/>
                  <a:pt x="0" y="195"/>
                </a:cubicBezTo>
                <a:lnTo>
                  <a:pt x="60" y="234"/>
                </a:lnTo>
                <a:cubicBezTo>
                  <a:pt x="89" y="190"/>
                  <a:pt x="126" y="151"/>
                  <a:pt x="172" y="118"/>
                </a:cubicBezTo>
                <a:close/>
                <a:moveTo>
                  <a:pt x="719" y="57"/>
                </a:moveTo>
                <a:cubicBezTo>
                  <a:pt x="687" y="34"/>
                  <a:pt x="653" y="15"/>
                  <a:pt x="617" y="0"/>
                </a:cubicBezTo>
                <a:lnTo>
                  <a:pt x="590" y="66"/>
                </a:lnTo>
                <a:cubicBezTo>
                  <a:pt x="620" y="79"/>
                  <a:pt x="650" y="95"/>
                  <a:pt x="677" y="115"/>
                </a:cubicBezTo>
                <a:cubicBezTo>
                  <a:pt x="721" y="147"/>
                  <a:pt x="758" y="187"/>
                  <a:pt x="788" y="234"/>
                </a:cubicBezTo>
                <a:lnTo>
                  <a:pt x="848" y="196"/>
                </a:lnTo>
                <a:cubicBezTo>
                  <a:pt x="814" y="141"/>
                  <a:pt x="770" y="95"/>
                  <a:pt x="719" y="57"/>
                </a:cubicBezTo>
                <a:close/>
                <a:moveTo>
                  <a:pt x="424" y="749"/>
                </a:moveTo>
                <a:cubicBezTo>
                  <a:pt x="266" y="749"/>
                  <a:pt x="138" y="621"/>
                  <a:pt x="138" y="463"/>
                </a:cubicBezTo>
                <a:cubicBezTo>
                  <a:pt x="138" y="305"/>
                  <a:pt x="266" y="176"/>
                  <a:pt x="424" y="176"/>
                </a:cubicBezTo>
                <a:cubicBezTo>
                  <a:pt x="582" y="176"/>
                  <a:pt x="711" y="305"/>
                  <a:pt x="711" y="463"/>
                </a:cubicBezTo>
                <a:cubicBezTo>
                  <a:pt x="711" y="621"/>
                  <a:pt x="582" y="749"/>
                  <a:pt x="424" y="749"/>
                </a:cubicBezTo>
                <a:close/>
                <a:moveTo>
                  <a:pt x="424" y="105"/>
                </a:moveTo>
                <a:cubicBezTo>
                  <a:pt x="227" y="105"/>
                  <a:pt x="66" y="265"/>
                  <a:pt x="66" y="463"/>
                </a:cubicBezTo>
                <a:cubicBezTo>
                  <a:pt x="66" y="660"/>
                  <a:pt x="227" y="821"/>
                  <a:pt x="424" y="821"/>
                </a:cubicBezTo>
                <a:cubicBezTo>
                  <a:pt x="622" y="821"/>
                  <a:pt x="782" y="660"/>
                  <a:pt x="782" y="463"/>
                </a:cubicBezTo>
                <a:cubicBezTo>
                  <a:pt x="782" y="265"/>
                  <a:pt x="622" y="105"/>
                  <a:pt x="424" y="105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4" name="Freeform 52"/>
          <p:cNvSpPr>
            <a:spLocks noEditPoints="1"/>
          </p:cNvSpPr>
          <p:nvPr/>
        </p:nvSpPr>
        <p:spPr bwMode="auto">
          <a:xfrm>
            <a:off x="6540438" y="1780680"/>
            <a:ext cx="576567" cy="594301"/>
          </a:xfrm>
          <a:custGeom>
            <a:avLst/>
            <a:gdLst>
              <a:gd name="T0" fmla="*/ 179 w 839"/>
              <a:gd name="T1" fmla="*/ 143 h 860"/>
              <a:gd name="T2" fmla="*/ 609 w 839"/>
              <a:gd name="T3" fmla="*/ 143 h 860"/>
              <a:gd name="T4" fmla="*/ 609 w 839"/>
              <a:gd name="T5" fmla="*/ 269 h 860"/>
              <a:gd name="T6" fmla="*/ 474 w 839"/>
              <a:gd name="T7" fmla="*/ 383 h 860"/>
              <a:gd name="T8" fmla="*/ 526 w 839"/>
              <a:gd name="T9" fmla="*/ 440 h 860"/>
              <a:gd name="T10" fmla="*/ 839 w 839"/>
              <a:gd name="T11" fmla="*/ 208 h 860"/>
              <a:gd name="T12" fmla="*/ 781 w 839"/>
              <a:gd name="T13" fmla="*/ 151 h 860"/>
              <a:gd name="T14" fmla="*/ 680 w 839"/>
              <a:gd name="T15" fmla="*/ 215 h 860"/>
              <a:gd name="T16" fmla="*/ 680 w 839"/>
              <a:gd name="T17" fmla="*/ 72 h 860"/>
              <a:gd name="T18" fmla="*/ 430 w 839"/>
              <a:gd name="T19" fmla="*/ 72 h 860"/>
              <a:gd name="T20" fmla="*/ 430 w 839"/>
              <a:gd name="T21" fmla="*/ 0 h 860"/>
              <a:gd name="T22" fmla="*/ 358 w 839"/>
              <a:gd name="T23" fmla="*/ 0 h 860"/>
              <a:gd name="T24" fmla="*/ 358 w 839"/>
              <a:gd name="T25" fmla="*/ 72 h 860"/>
              <a:gd name="T26" fmla="*/ 107 w 839"/>
              <a:gd name="T27" fmla="*/ 72 h 860"/>
              <a:gd name="T28" fmla="*/ 107 w 839"/>
              <a:gd name="T29" fmla="*/ 537 h 860"/>
              <a:gd name="T30" fmla="*/ 179 w 839"/>
              <a:gd name="T31" fmla="*/ 537 h 860"/>
              <a:gd name="T32" fmla="*/ 179 w 839"/>
              <a:gd name="T33" fmla="*/ 143 h 860"/>
              <a:gd name="T34" fmla="*/ 680 w 839"/>
              <a:gd name="T35" fmla="*/ 537 h 860"/>
              <a:gd name="T36" fmla="*/ 680 w 839"/>
              <a:gd name="T37" fmla="*/ 393 h 860"/>
              <a:gd name="T38" fmla="*/ 609 w 839"/>
              <a:gd name="T39" fmla="*/ 447 h 860"/>
              <a:gd name="T40" fmla="*/ 609 w 839"/>
              <a:gd name="T41" fmla="*/ 537 h 860"/>
              <a:gd name="T42" fmla="*/ 680 w 839"/>
              <a:gd name="T43" fmla="*/ 537 h 860"/>
              <a:gd name="T44" fmla="*/ 371 w 839"/>
              <a:gd name="T45" fmla="*/ 473 h 860"/>
              <a:gd name="T46" fmla="*/ 414 w 839"/>
              <a:gd name="T47" fmla="*/ 530 h 860"/>
              <a:gd name="T48" fmla="*/ 506 w 839"/>
              <a:gd name="T49" fmla="*/ 461 h 860"/>
              <a:gd name="T50" fmla="*/ 463 w 839"/>
              <a:gd name="T51" fmla="*/ 404 h 860"/>
              <a:gd name="T52" fmla="*/ 371 w 839"/>
              <a:gd name="T53" fmla="*/ 473 h 860"/>
              <a:gd name="T54" fmla="*/ 0 w 839"/>
              <a:gd name="T55" fmla="*/ 681 h 860"/>
              <a:gd name="T56" fmla="*/ 233 w 839"/>
              <a:gd name="T57" fmla="*/ 681 h 860"/>
              <a:gd name="T58" fmla="*/ 166 w 839"/>
              <a:gd name="T59" fmla="*/ 860 h 860"/>
              <a:gd name="T60" fmla="*/ 243 w 839"/>
              <a:gd name="T61" fmla="*/ 860 h 860"/>
              <a:gd name="T62" fmla="*/ 310 w 839"/>
              <a:gd name="T63" fmla="*/ 681 h 860"/>
              <a:gd name="T64" fmla="*/ 358 w 839"/>
              <a:gd name="T65" fmla="*/ 681 h 860"/>
              <a:gd name="T66" fmla="*/ 358 w 839"/>
              <a:gd name="T67" fmla="*/ 860 h 860"/>
              <a:gd name="T68" fmla="*/ 430 w 839"/>
              <a:gd name="T69" fmla="*/ 860 h 860"/>
              <a:gd name="T70" fmla="*/ 430 w 839"/>
              <a:gd name="T71" fmla="*/ 681 h 860"/>
              <a:gd name="T72" fmla="*/ 547 w 839"/>
              <a:gd name="T73" fmla="*/ 681 h 860"/>
              <a:gd name="T74" fmla="*/ 614 w 839"/>
              <a:gd name="T75" fmla="*/ 860 h 860"/>
              <a:gd name="T76" fmla="*/ 690 w 839"/>
              <a:gd name="T77" fmla="*/ 860 h 860"/>
              <a:gd name="T78" fmla="*/ 623 w 839"/>
              <a:gd name="T79" fmla="*/ 681 h 860"/>
              <a:gd name="T80" fmla="*/ 788 w 839"/>
              <a:gd name="T81" fmla="*/ 681 h 860"/>
              <a:gd name="T82" fmla="*/ 788 w 839"/>
              <a:gd name="T83" fmla="*/ 609 h 860"/>
              <a:gd name="T84" fmla="*/ 0 w 839"/>
              <a:gd name="T85" fmla="*/ 609 h 860"/>
              <a:gd name="T86" fmla="*/ 0 w 839"/>
              <a:gd name="T87" fmla="*/ 681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839" h="860">
                <a:moveTo>
                  <a:pt x="179" y="143"/>
                </a:moveTo>
                <a:lnTo>
                  <a:pt x="609" y="143"/>
                </a:lnTo>
                <a:lnTo>
                  <a:pt x="609" y="269"/>
                </a:lnTo>
                <a:lnTo>
                  <a:pt x="474" y="383"/>
                </a:lnTo>
                <a:lnTo>
                  <a:pt x="526" y="440"/>
                </a:lnTo>
                <a:lnTo>
                  <a:pt x="839" y="208"/>
                </a:lnTo>
                <a:lnTo>
                  <a:pt x="781" y="151"/>
                </a:lnTo>
                <a:lnTo>
                  <a:pt x="680" y="215"/>
                </a:lnTo>
                <a:lnTo>
                  <a:pt x="680" y="72"/>
                </a:lnTo>
                <a:lnTo>
                  <a:pt x="430" y="72"/>
                </a:lnTo>
                <a:lnTo>
                  <a:pt x="430" y="0"/>
                </a:lnTo>
                <a:lnTo>
                  <a:pt x="358" y="0"/>
                </a:lnTo>
                <a:lnTo>
                  <a:pt x="358" y="72"/>
                </a:lnTo>
                <a:lnTo>
                  <a:pt x="107" y="72"/>
                </a:lnTo>
                <a:lnTo>
                  <a:pt x="107" y="537"/>
                </a:lnTo>
                <a:lnTo>
                  <a:pt x="179" y="537"/>
                </a:lnTo>
                <a:lnTo>
                  <a:pt x="179" y="143"/>
                </a:lnTo>
                <a:close/>
                <a:moveTo>
                  <a:pt x="680" y="537"/>
                </a:moveTo>
                <a:lnTo>
                  <a:pt x="680" y="393"/>
                </a:lnTo>
                <a:lnTo>
                  <a:pt x="609" y="447"/>
                </a:lnTo>
                <a:lnTo>
                  <a:pt x="609" y="537"/>
                </a:lnTo>
                <a:lnTo>
                  <a:pt x="680" y="537"/>
                </a:lnTo>
                <a:close/>
                <a:moveTo>
                  <a:pt x="371" y="473"/>
                </a:moveTo>
                <a:lnTo>
                  <a:pt x="414" y="530"/>
                </a:lnTo>
                <a:lnTo>
                  <a:pt x="506" y="461"/>
                </a:lnTo>
                <a:lnTo>
                  <a:pt x="463" y="404"/>
                </a:lnTo>
                <a:lnTo>
                  <a:pt x="371" y="473"/>
                </a:lnTo>
                <a:close/>
                <a:moveTo>
                  <a:pt x="0" y="681"/>
                </a:moveTo>
                <a:lnTo>
                  <a:pt x="233" y="681"/>
                </a:lnTo>
                <a:lnTo>
                  <a:pt x="166" y="860"/>
                </a:lnTo>
                <a:lnTo>
                  <a:pt x="243" y="860"/>
                </a:lnTo>
                <a:lnTo>
                  <a:pt x="310" y="681"/>
                </a:lnTo>
                <a:lnTo>
                  <a:pt x="358" y="681"/>
                </a:lnTo>
                <a:lnTo>
                  <a:pt x="358" y="860"/>
                </a:lnTo>
                <a:lnTo>
                  <a:pt x="430" y="860"/>
                </a:lnTo>
                <a:lnTo>
                  <a:pt x="430" y="681"/>
                </a:lnTo>
                <a:lnTo>
                  <a:pt x="547" y="681"/>
                </a:lnTo>
                <a:lnTo>
                  <a:pt x="614" y="860"/>
                </a:lnTo>
                <a:lnTo>
                  <a:pt x="690" y="860"/>
                </a:lnTo>
                <a:lnTo>
                  <a:pt x="623" y="681"/>
                </a:lnTo>
                <a:lnTo>
                  <a:pt x="788" y="681"/>
                </a:lnTo>
                <a:lnTo>
                  <a:pt x="788" y="609"/>
                </a:lnTo>
                <a:lnTo>
                  <a:pt x="0" y="609"/>
                </a:lnTo>
                <a:lnTo>
                  <a:pt x="0" y="681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sp>
        <p:nvSpPr>
          <p:cNvPr id="76" name="Freeform 54"/>
          <p:cNvSpPr>
            <a:spLocks noEditPoints="1"/>
          </p:cNvSpPr>
          <p:nvPr/>
        </p:nvSpPr>
        <p:spPr bwMode="auto">
          <a:xfrm>
            <a:off x="2108074" y="3005710"/>
            <a:ext cx="588580" cy="591300"/>
          </a:xfrm>
          <a:custGeom>
            <a:avLst/>
            <a:gdLst>
              <a:gd name="T0" fmla="*/ 358 w 860"/>
              <a:gd name="T1" fmla="*/ 322 h 859"/>
              <a:gd name="T2" fmla="*/ 358 w 860"/>
              <a:gd name="T3" fmla="*/ 250 h 859"/>
              <a:gd name="T4" fmla="*/ 287 w 860"/>
              <a:gd name="T5" fmla="*/ 250 h 859"/>
              <a:gd name="T6" fmla="*/ 287 w 860"/>
              <a:gd name="T7" fmla="*/ 322 h 859"/>
              <a:gd name="T8" fmla="*/ 358 w 860"/>
              <a:gd name="T9" fmla="*/ 322 h 859"/>
              <a:gd name="T10" fmla="*/ 215 w 860"/>
              <a:gd name="T11" fmla="*/ 394 h 859"/>
              <a:gd name="T12" fmla="*/ 144 w 860"/>
              <a:gd name="T13" fmla="*/ 394 h 859"/>
              <a:gd name="T14" fmla="*/ 144 w 860"/>
              <a:gd name="T15" fmla="*/ 465 h 859"/>
              <a:gd name="T16" fmla="*/ 215 w 860"/>
              <a:gd name="T17" fmla="*/ 465 h 859"/>
              <a:gd name="T18" fmla="*/ 215 w 860"/>
              <a:gd name="T19" fmla="*/ 394 h 859"/>
              <a:gd name="T20" fmla="*/ 251 w 860"/>
              <a:gd name="T21" fmla="*/ 143 h 859"/>
              <a:gd name="T22" fmla="*/ 394 w 860"/>
              <a:gd name="T23" fmla="*/ 143 h 859"/>
              <a:gd name="T24" fmla="*/ 394 w 860"/>
              <a:gd name="T25" fmla="*/ 71 h 859"/>
              <a:gd name="T26" fmla="*/ 251 w 860"/>
              <a:gd name="T27" fmla="*/ 71 h 859"/>
              <a:gd name="T28" fmla="*/ 251 w 860"/>
              <a:gd name="T29" fmla="*/ 0 h 859"/>
              <a:gd name="T30" fmla="*/ 179 w 860"/>
              <a:gd name="T31" fmla="*/ 0 h 859"/>
              <a:gd name="T32" fmla="*/ 179 w 860"/>
              <a:gd name="T33" fmla="*/ 179 h 859"/>
              <a:gd name="T34" fmla="*/ 251 w 860"/>
              <a:gd name="T35" fmla="*/ 179 h 859"/>
              <a:gd name="T36" fmla="*/ 251 w 860"/>
              <a:gd name="T37" fmla="*/ 143 h 859"/>
              <a:gd name="T38" fmla="*/ 215 w 860"/>
              <a:gd name="T39" fmla="*/ 250 h 859"/>
              <a:gd name="T40" fmla="*/ 144 w 860"/>
              <a:gd name="T41" fmla="*/ 250 h 859"/>
              <a:gd name="T42" fmla="*/ 144 w 860"/>
              <a:gd name="T43" fmla="*/ 322 h 859"/>
              <a:gd name="T44" fmla="*/ 215 w 860"/>
              <a:gd name="T45" fmla="*/ 322 h 859"/>
              <a:gd name="T46" fmla="*/ 215 w 860"/>
              <a:gd name="T47" fmla="*/ 250 h 859"/>
              <a:gd name="T48" fmla="*/ 609 w 860"/>
              <a:gd name="T49" fmla="*/ 429 h 859"/>
              <a:gd name="T50" fmla="*/ 537 w 860"/>
              <a:gd name="T51" fmla="*/ 429 h 859"/>
              <a:gd name="T52" fmla="*/ 537 w 860"/>
              <a:gd name="T53" fmla="*/ 588 h 859"/>
              <a:gd name="T54" fmla="*/ 620 w 860"/>
              <a:gd name="T55" fmla="*/ 670 h 859"/>
              <a:gd name="T56" fmla="*/ 670 w 860"/>
              <a:gd name="T57" fmla="*/ 619 h 859"/>
              <a:gd name="T58" fmla="*/ 609 w 860"/>
              <a:gd name="T59" fmla="*/ 558 h 859"/>
              <a:gd name="T60" fmla="*/ 609 w 860"/>
              <a:gd name="T61" fmla="*/ 429 h 859"/>
              <a:gd name="T62" fmla="*/ 573 w 860"/>
              <a:gd name="T63" fmla="*/ 788 h 859"/>
              <a:gd name="T64" fmla="*/ 358 w 860"/>
              <a:gd name="T65" fmla="*/ 573 h 859"/>
              <a:gd name="T66" fmla="*/ 573 w 860"/>
              <a:gd name="T67" fmla="*/ 358 h 859"/>
              <a:gd name="T68" fmla="*/ 788 w 860"/>
              <a:gd name="T69" fmla="*/ 573 h 859"/>
              <a:gd name="T70" fmla="*/ 573 w 860"/>
              <a:gd name="T71" fmla="*/ 788 h 859"/>
              <a:gd name="T72" fmla="*/ 712 w 860"/>
              <a:gd name="T73" fmla="*/ 322 h 859"/>
              <a:gd name="T74" fmla="*/ 716 w 860"/>
              <a:gd name="T75" fmla="*/ 322 h 859"/>
              <a:gd name="T76" fmla="*/ 716 w 860"/>
              <a:gd name="T77" fmla="*/ 71 h 859"/>
              <a:gd name="T78" fmla="*/ 537 w 860"/>
              <a:gd name="T79" fmla="*/ 71 h 859"/>
              <a:gd name="T80" fmla="*/ 537 w 860"/>
              <a:gd name="T81" fmla="*/ 0 h 859"/>
              <a:gd name="T82" fmla="*/ 466 w 860"/>
              <a:gd name="T83" fmla="*/ 0 h 859"/>
              <a:gd name="T84" fmla="*/ 466 w 860"/>
              <a:gd name="T85" fmla="*/ 179 h 859"/>
              <a:gd name="T86" fmla="*/ 537 w 860"/>
              <a:gd name="T87" fmla="*/ 179 h 859"/>
              <a:gd name="T88" fmla="*/ 537 w 860"/>
              <a:gd name="T89" fmla="*/ 143 h 859"/>
              <a:gd name="T90" fmla="*/ 645 w 860"/>
              <a:gd name="T91" fmla="*/ 143 h 859"/>
              <a:gd name="T92" fmla="*/ 645 w 860"/>
              <a:gd name="T93" fmla="*/ 296 h 859"/>
              <a:gd name="T94" fmla="*/ 573 w 860"/>
              <a:gd name="T95" fmla="*/ 286 h 859"/>
              <a:gd name="T96" fmla="*/ 289 w 860"/>
              <a:gd name="T97" fmla="*/ 537 h 859"/>
              <a:gd name="T98" fmla="*/ 72 w 860"/>
              <a:gd name="T99" fmla="*/ 537 h 859"/>
              <a:gd name="T100" fmla="*/ 72 w 860"/>
              <a:gd name="T101" fmla="*/ 143 h 859"/>
              <a:gd name="T102" fmla="*/ 108 w 860"/>
              <a:gd name="T103" fmla="*/ 143 h 859"/>
              <a:gd name="T104" fmla="*/ 108 w 860"/>
              <a:gd name="T105" fmla="*/ 71 h 859"/>
              <a:gd name="T106" fmla="*/ 0 w 860"/>
              <a:gd name="T107" fmla="*/ 71 h 859"/>
              <a:gd name="T108" fmla="*/ 0 w 860"/>
              <a:gd name="T109" fmla="*/ 609 h 859"/>
              <a:gd name="T110" fmla="*/ 289 w 860"/>
              <a:gd name="T111" fmla="*/ 609 h 859"/>
              <a:gd name="T112" fmla="*/ 573 w 860"/>
              <a:gd name="T113" fmla="*/ 859 h 859"/>
              <a:gd name="T114" fmla="*/ 860 w 860"/>
              <a:gd name="T115" fmla="*/ 573 h 859"/>
              <a:gd name="T116" fmla="*/ 712 w 860"/>
              <a:gd name="T117" fmla="*/ 322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60" h="859">
                <a:moveTo>
                  <a:pt x="358" y="322"/>
                </a:moveTo>
                <a:lnTo>
                  <a:pt x="358" y="250"/>
                </a:lnTo>
                <a:lnTo>
                  <a:pt x="287" y="250"/>
                </a:lnTo>
                <a:lnTo>
                  <a:pt x="287" y="322"/>
                </a:lnTo>
                <a:lnTo>
                  <a:pt x="358" y="322"/>
                </a:lnTo>
                <a:close/>
                <a:moveTo>
                  <a:pt x="215" y="394"/>
                </a:moveTo>
                <a:lnTo>
                  <a:pt x="144" y="394"/>
                </a:lnTo>
                <a:lnTo>
                  <a:pt x="144" y="465"/>
                </a:lnTo>
                <a:lnTo>
                  <a:pt x="215" y="465"/>
                </a:lnTo>
                <a:lnTo>
                  <a:pt x="215" y="394"/>
                </a:lnTo>
                <a:close/>
                <a:moveTo>
                  <a:pt x="251" y="143"/>
                </a:moveTo>
                <a:lnTo>
                  <a:pt x="394" y="143"/>
                </a:lnTo>
                <a:lnTo>
                  <a:pt x="394" y="71"/>
                </a:lnTo>
                <a:lnTo>
                  <a:pt x="251" y="71"/>
                </a:lnTo>
                <a:lnTo>
                  <a:pt x="251" y="0"/>
                </a:lnTo>
                <a:lnTo>
                  <a:pt x="179" y="0"/>
                </a:lnTo>
                <a:lnTo>
                  <a:pt x="179" y="179"/>
                </a:lnTo>
                <a:lnTo>
                  <a:pt x="251" y="179"/>
                </a:lnTo>
                <a:lnTo>
                  <a:pt x="251" y="143"/>
                </a:lnTo>
                <a:close/>
                <a:moveTo>
                  <a:pt x="215" y="250"/>
                </a:moveTo>
                <a:lnTo>
                  <a:pt x="144" y="250"/>
                </a:lnTo>
                <a:lnTo>
                  <a:pt x="144" y="322"/>
                </a:lnTo>
                <a:lnTo>
                  <a:pt x="215" y="322"/>
                </a:lnTo>
                <a:lnTo>
                  <a:pt x="215" y="250"/>
                </a:lnTo>
                <a:close/>
                <a:moveTo>
                  <a:pt x="609" y="429"/>
                </a:moveTo>
                <a:lnTo>
                  <a:pt x="537" y="429"/>
                </a:lnTo>
                <a:lnTo>
                  <a:pt x="537" y="588"/>
                </a:lnTo>
                <a:lnTo>
                  <a:pt x="620" y="670"/>
                </a:lnTo>
                <a:lnTo>
                  <a:pt x="670" y="619"/>
                </a:lnTo>
                <a:lnTo>
                  <a:pt x="609" y="558"/>
                </a:lnTo>
                <a:lnTo>
                  <a:pt x="609" y="429"/>
                </a:lnTo>
                <a:close/>
                <a:moveTo>
                  <a:pt x="573" y="788"/>
                </a:moveTo>
                <a:cubicBezTo>
                  <a:pt x="455" y="788"/>
                  <a:pt x="358" y="691"/>
                  <a:pt x="358" y="573"/>
                </a:cubicBezTo>
                <a:cubicBezTo>
                  <a:pt x="358" y="454"/>
                  <a:pt x="455" y="358"/>
                  <a:pt x="573" y="358"/>
                </a:cubicBezTo>
                <a:cubicBezTo>
                  <a:pt x="692" y="358"/>
                  <a:pt x="788" y="454"/>
                  <a:pt x="788" y="573"/>
                </a:cubicBezTo>
                <a:cubicBezTo>
                  <a:pt x="788" y="691"/>
                  <a:pt x="692" y="788"/>
                  <a:pt x="573" y="788"/>
                </a:cubicBezTo>
                <a:close/>
                <a:moveTo>
                  <a:pt x="712" y="322"/>
                </a:moveTo>
                <a:lnTo>
                  <a:pt x="716" y="322"/>
                </a:lnTo>
                <a:lnTo>
                  <a:pt x="716" y="71"/>
                </a:lnTo>
                <a:lnTo>
                  <a:pt x="537" y="71"/>
                </a:lnTo>
                <a:lnTo>
                  <a:pt x="537" y="0"/>
                </a:lnTo>
                <a:lnTo>
                  <a:pt x="466" y="0"/>
                </a:lnTo>
                <a:lnTo>
                  <a:pt x="466" y="179"/>
                </a:lnTo>
                <a:lnTo>
                  <a:pt x="537" y="179"/>
                </a:lnTo>
                <a:lnTo>
                  <a:pt x="537" y="143"/>
                </a:lnTo>
                <a:lnTo>
                  <a:pt x="645" y="143"/>
                </a:lnTo>
                <a:lnTo>
                  <a:pt x="645" y="296"/>
                </a:lnTo>
                <a:cubicBezTo>
                  <a:pt x="609" y="290"/>
                  <a:pt x="598" y="286"/>
                  <a:pt x="573" y="286"/>
                </a:cubicBezTo>
                <a:cubicBezTo>
                  <a:pt x="427" y="286"/>
                  <a:pt x="307" y="394"/>
                  <a:pt x="289" y="537"/>
                </a:cubicBezTo>
                <a:lnTo>
                  <a:pt x="72" y="537"/>
                </a:lnTo>
                <a:lnTo>
                  <a:pt x="72" y="143"/>
                </a:lnTo>
                <a:lnTo>
                  <a:pt x="108" y="143"/>
                </a:lnTo>
                <a:lnTo>
                  <a:pt x="108" y="71"/>
                </a:lnTo>
                <a:lnTo>
                  <a:pt x="0" y="71"/>
                </a:lnTo>
                <a:lnTo>
                  <a:pt x="0" y="609"/>
                </a:lnTo>
                <a:lnTo>
                  <a:pt x="289" y="609"/>
                </a:lnTo>
                <a:cubicBezTo>
                  <a:pt x="307" y="752"/>
                  <a:pt x="427" y="859"/>
                  <a:pt x="573" y="859"/>
                </a:cubicBezTo>
                <a:cubicBezTo>
                  <a:pt x="731" y="859"/>
                  <a:pt x="860" y="731"/>
                  <a:pt x="860" y="573"/>
                </a:cubicBezTo>
                <a:cubicBezTo>
                  <a:pt x="860" y="465"/>
                  <a:pt x="800" y="358"/>
                  <a:pt x="712" y="322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ru-RU" sz="2400" dirty="0"/>
          </a:p>
        </p:txBody>
      </p:sp>
      <p:grpSp>
        <p:nvGrpSpPr>
          <p:cNvPr id="95" name="Группа 94"/>
          <p:cNvGrpSpPr/>
          <p:nvPr/>
        </p:nvGrpSpPr>
        <p:grpSpPr>
          <a:xfrm>
            <a:off x="8041917" y="469017"/>
            <a:ext cx="2017985" cy="702356"/>
            <a:chOff x="6031437" y="443121"/>
            <a:chExt cx="1513489" cy="526767"/>
          </a:xfrm>
        </p:grpSpPr>
        <p:sp>
          <p:nvSpPr>
            <p:cNvPr id="78" name="Freeform 56"/>
            <p:cNvSpPr>
              <a:spLocks/>
            </p:cNvSpPr>
            <p:nvPr/>
          </p:nvSpPr>
          <p:spPr bwMode="auto">
            <a:xfrm>
              <a:off x="6038192" y="692998"/>
              <a:ext cx="576569" cy="31516"/>
            </a:xfrm>
            <a:custGeom>
              <a:avLst/>
              <a:gdLst>
                <a:gd name="T0" fmla="*/ 1111 w 1116"/>
                <a:gd name="T1" fmla="*/ 0 h 60"/>
                <a:gd name="T2" fmla="*/ 0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1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1" y="0"/>
                  </a:moveTo>
                  <a:lnTo>
                    <a:pt x="0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1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79" name="Freeform 57"/>
            <p:cNvSpPr>
              <a:spLocks/>
            </p:cNvSpPr>
            <p:nvPr/>
          </p:nvSpPr>
          <p:spPr bwMode="auto">
            <a:xfrm>
              <a:off x="6963853" y="692998"/>
              <a:ext cx="574315" cy="31516"/>
            </a:xfrm>
            <a:custGeom>
              <a:avLst/>
              <a:gdLst>
                <a:gd name="T0" fmla="*/ 1116 w 1116"/>
                <a:gd name="T1" fmla="*/ 0 h 60"/>
                <a:gd name="T2" fmla="*/ 5 w 1116"/>
                <a:gd name="T3" fmla="*/ 0 h 60"/>
                <a:gd name="T4" fmla="*/ 0 w 1116"/>
                <a:gd name="T5" fmla="*/ 60 h 60"/>
                <a:gd name="T6" fmla="*/ 1116 w 1116"/>
                <a:gd name="T7" fmla="*/ 60 h 60"/>
                <a:gd name="T8" fmla="*/ 1116 w 1116"/>
                <a:gd name="T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6" h="60">
                  <a:moveTo>
                    <a:pt x="1116" y="0"/>
                  </a:moveTo>
                  <a:lnTo>
                    <a:pt x="5" y="0"/>
                  </a:lnTo>
                  <a:lnTo>
                    <a:pt x="0" y="60"/>
                  </a:lnTo>
                  <a:lnTo>
                    <a:pt x="1116" y="60"/>
                  </a:lnTo>
                  <a:lnTo>
                    <a:pt x="111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0" name="Freeform 58"/>
            <p:cNvSpPr>
              <a:spLocks/>
            </p:cNvSpPr>
            <p:nvPr/>
          </p:nvSpPr>
          <p:spPr bwMode="auto">
            <a:xfrm>
              <a:off x="6031437" y="812309"/>
              <a:ext cx="132880" cy="123812"/>
            </a:xfrm>
            <a:custGeom>
              <a:avLst/>
              <a:gdLst>
                <a:gd name="T0" fmla="*/ 0 w 258"/>
                <a:gd name="T1" fmla="*/ 10 h 239"/>
                <a:gd name="T2" fmla="*/ 33 w 258"/>
                <a:gd name="T3" fmla="*/ 19 h 239"/>
                <a:gd name="T4" fmla="*/ 33 w 258"/>
                <a:gd name="T5" fmla="*/ 216 h 239"/>
                <a:gd name="T6" fmla="*/ 0 w 258"/>
                <a:gd name="T7" fmla="*/ 225 h 239"/>
                <a:gd name="T8" fmla="*/ 0 w 258"/>
                <a:gd name="T9" fmla="*/ 239 h 239"/>
                <a:gd name="T10" fmla="*/ 112 w 258"/>
                <a:gd name="T11" fmla="*/ 239 h 239"/>
                <a:gd name="T12" fmla="*/ 112 w 258"/>
                <a:gd name="T13" fmla="*/ 225 h 239"/>
                <a:gd name="T14" fmla="*/ 80 w 258"/>
                <a:gd name="T15" fmla="*/ 216 h 239"/>
                <a:gd name="T16" fmla="*/ 80 w 258"/>
                <a:gd name="T17" fmla="*/ 24 h 239"/>
                <a:gd name="T18" fmla="*/ 173 w 258"/>
                <a:gd name="T19" fmla="*/ 24 h 239"/>
                <a:gd name="T20" fmla="*/ 173 w 258"/>
                <a:gd name="T21" fmla="*/ 216 h 239"/>
                <a:gd name="T22" fmla="*/ 145 w 258"/>
                <a:gd name="T23" fmla="*/ 225 h 239"/>
                <a:gd name="T24" fmla="*/ 145 w 258"/>
                <a:gd name="T25" fmla="*/ 239 h 239"/>
                <a:gd name="T26" fmla="*/ 258 w 258"/>
                <a:gd name="T27" fmla="*/ 239 h 239"/>
                <a:gd name="T28" fmla="*/ 258 w 258"/>
                <a:gd name="T29" fmla="*/ 225 h 239"/>
                <a:gd name="T30" fmla="*/ 225 w 258"/>
                <a:gd name="T31" fmla="*/ 216 h 239"/>
                <a:gd name="T32" fmla="*/ 225 w 258"/>
                <a:gd name="T33" fmla="*/ 19 h 239"/>
                <a:gd name="T34" fmla="*/ 258 w 258"/>
                <a:gd name="T35" fmla="*/ 10 h 239"/>
                <a:gd name="T36" fmla="*/ 258 w 258"/>
                <a:gd name="T37" fmla="*/ 0 h 239"/>
                <a:gd name="T38" fmla="*/ 0 w 258"/>
                <a:gd name="T39" fmla="*/ 0 h 239"/>
                <a:gd name="T40" fmla="*/ 0 w 258"/>
                <a:gd name="T41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8" h="239">
                  <a:moveTo>
                    <a:pt x="0" y="10"/>
                  </a:move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80" y="216"/>
                  </a:lnTo>
                  <a:lnTo>
                    <a:pt x="80" y="24"/>
                  </a:lnTo>
                  <a:lnTo>
                    <a:pt x="173" y="24"/>
                  </a:lnTo>
                  <a:lnTo>
                    <a:pt x="173" y="216"/>
                  </a:lnTo>
                  <a:lnTo>
                    <a:pt x="145" y="225"/>
                  </a:lnTo>
                  <a:lnTo>
                    <a:pt x="145" y="239"/>
                  </a:lnTo>
                  <a:lnTo>
                    <a:pt x="258" y="239"/>
                  </a:lnTo>
                  <a:lnTo>
                    <a:pt x="258" y="225"/>
                  </a:lnTo>
                  <a:lnTo>
                    <a:pt x="225" y="216"/>
                  </a:lnTo>
                  <a:lnTo>
                    <a:pt x="225" y="19"/>
                  </a:lnTo>
                  <a:lnTo>
                    <a:pt x="258" y="10"/>
                  </a:lnTo>
                  <a:lnTo>
                    <a:pt x="258" y="0"/>
                  </a:lnTo>
                  <a:lnTo>
                    <a:pt x="0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1" name="Freeform 59"/>
            <p:cNvSpPr>
              <a:spLocks noEditPoints="1"/>
            </p:cNvSpPr>
            <p:nvPr/>
          </p:nvSpPr>
          <p:spPr bwMode="auto">
            <a:xfrm>
              <a:off x="6189091" y="812309"/>
              <a:ext cx="90089" cy="123812"/>
            </a:xfrm>
            <a:custGeom>
              <a:avLst/>
              <a:gdLst>
                <a:gd name="T0" fmla="*/ 108 w 173"/>
                <a:gd name="T1" fmla="*/ 0 h 239"/>
                <a:gd name="T2" fmla="*/ 98 w 173"/>
                <a:gd name="T3" fmla="*/ 0 h 239"/>
                <a:gd name="T4" fmla="*/ 0 w 173"/>
                <a:gd name="T5" fmla="*/ 0 h 239"/>
                <a:gd name="T6" fmla="*/ 0 w 173"/>
                <a:gd name="T7" fmla="*/ 10 h 239"/>
                <a:gd name="T8" fmla="*/ 28 w 173"/>
                <a:gd name="T9" fmla="*/ 19 h 239"/>
                <a:gd name="T10" fmla="*/ 28 w 173"/>
                <a:gd name="T11" fmla="*/ 216 h 239"/>
                <a:gd name="T12" fmla="*/ 0 w 173"/>
                <a:gd name="T13" fmla="*/ 225 h 239"/>
                <a:gd name="T14" fmla="*/ 0 w 173"/>
                <a:gd name="T15" fmla="*/ 239 h 239"/>
                <a:gd name="T16" fmla="*/ 98 w 173"/>
                <a:gd name="T17" fmla="*/ 239 h 239"/>
                <a:gd name="T18" fmla="*/ 112 w 173"/>
                <a:gd name="T19" fmla="*/ 239 h 239"/>
                <a:gd name="T20" fmla="*/ 112 w 173"/>
                <a:gd name="T21" fmla="*/ 225 h 239"/>
                <a:gd name="T22" fmla="*/ 98 w 173"/>
                <a:gd name="T23" fmla="*/ 221 h 239"/>
                <a:gd name="T24" fmla="*/ 70 w 173"/>
                <a:gd name="T25" fmla="*/ 216 h 239"/>
                <a:gd name="T26" fmla="*/ 70 w 173"/>
                <a:gd name="T27" fmla="*/ 136 h 239"/>
                <a:gd name="T28" fmla="*/ 89 w 173"/>
                <a:gd name="T29" fmla="*/ 136 h 239"/>
                <a:gd name="T30" fmla="*/ 98 w 173"/>
                <a:gd name="T31" fmla="*/ 136 h 239"/>
                <a:gd name="T32" fmla="*/ 131 w 173"/>
                <a:gd name="T33" fmla="*/ 132 h 239"/>
                <a:gd name="T34" fmla="*/ 154 w 173"/>
                <a:gd name="T35" fmla="*/ 117 h 239"/>
                <a:gd name="T36" fmla="*/ 169 w 173"/>
                <a:gd name="T37" fmla="*/ 94 h 239"/>
                <a:gd name="T38" fmla="*/ 173 w 173"/>
                <a:gd name="T39" fmla="*/ 61 h 239"/>
                <a:gd name="T40" fmla="*/ 164 w 173"/>
                <a:gd name="T41" fmla="*/ 33 h 239"/>
                <a:gd name="T42" fmla="*/ 154 w 173"/>
                <a:gd name="T43" fmla="*/ 14 h 239"/>
                <a:gd name="T44" fmla="*/ 131 w 173"/>
                <a:gd name="T45" fmla="*/ 0 h 239"/>
                <a:gd name="T46" fmla="*/ 108 w 173"/>
                <a:gd name="T47" fmla="*/ 0 h 239"/>
                <a:gd name="T48" fmla="*/ 98 w 173"/>
                <a:gd name="T49" fmla="*/ 122 h 239"/>
                <a:gd name="T50" fmla="*/ 98 w 173"/>
                <a:gd name="T51" fmla="*/ 122 h 239"/>
                <a:gd name="T52" fmla="*/ 84 w 173"/>
                <a:gd name="T53" fmla="*/ 122 h 239"/>
                <a:gd name="T54" fmla="*/ 70 w 173"/>
                <a:gd name="T55" fmla="*/ 122 h 239"/>
                <a:gd name="T56" fmla="*/ 70 w 173"/>
                <a:gd name="T57" fmla="*/ 14 h 239"/>
                <a:gd name="T58" fmla="*/ 84 w 173"/>
                <a:gd name="T59" fmla="*/ 14 h 239"/>
                <a:gd name="T60" fmla="*/ 89 w 173"/>
                <a:gd name="T61" fmla="*/ 14 h 239"/>
                <a:gd name="T62" fmla="*/ 98 w 173"/>
                <a:gd name="T63" fmla="*/ 19 h 239"/>
                <a:gd name="T64" fmla="*/ 108 w 173"/>
                <a:gd name="T65" fmla="*/ 24 h 239"/>
                <a:gd name="T66" fmla="*/ 117 w 173"/>
                <a:gd name="T67" fmla="*/ 33 h 239"/>
                <a:gd name="T68" fmla="*/ 122 w 173"/>
                <a:gd name="T69" fmla="*/ 47 h 239"/>
                <a:gd name="T70" fmla="*/ 126 w 173"/>
                <a:gd name="T71" fmla="*/ 71 h 239"/>
                <a:gd name="T72" fmla="*/ 122 w 173"/>
                <a:gd name="T73" fmla="*/ 103 h 239"/>
                <a:gd name="T74" fmla="*/ 112 w 173"/>
                <a:gd name="T75" fmla="*/ 113 h 239"/>
                <a:gd name="T76" fmla="*/ 98 w 173"/>
                <a:gd name="T77" fmla="*/ 122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3" h="239">
                  <a:moveTo>
                    <a:pt x="108" y="0"/>
                  </a:moveTo>
                  <a:lnTo>
                    <a:pt x="98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98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98" y="221"/>
                  </a:lnTo>
                  <a:lnTo>
                    <a:pt x="70" y="216"/>
                  </a:lnTo>
                  <a:lnTo>
                    <a:pt x="70" y="136"/>
                  </a:lnTo>
                  <a:lnTo>
                    <a:pt x="89" y="136"/>
                  </a:lnTo>
                  <a:lnTo>
                    <a:pt x="98" y="136"/>
                  </a:lnTo>
                  <a:lnTo>
                    <a:pt x="131" y="132"/>
                  </a:lnTo>
                  <a:lnTo>
                    <a:pt x="154" y="117"/>
                  </a:lnTo>
                  <a:lnTo>
                    <a:pt x="169" y="94"/>
                  </a:lnTo>
                  <a:lnTo>
                    <a:pt x="173" y="61"/>
                  </a:lnTo>
                  <a:lnTo>
                    <a:pt x="164" y="33"/>
                  </a:lnTo>
                  <a:lnTo>
                    <a:pt x="154" y="14"/>
                  </a:lnTo>
                  <a:lnTo>
                    <a:pt x="131" y="0"/>
                  </a:lnTo>
                  <a:lnTo>
                    <a:pt x="108" y="0"/>
                  </a:lnTo>
                  <a:close/>
                  <a:moveTo>
                    <a:pt x="98" y="122"/>
                  </a:moveTo>
                  <a:lnTo>
                    <a:pt x="98" y="122"/>
                  </a:lnTo>
                  <a:lnTo>
                    <a:pt x="84" y="122"/>
                  </a:lnTo>
                  <a:lnTo>
                    <a:pt x="70" y="122"/>
                  </a:lnTo>
                  <a:lnTo>
                    <a:pt x="70" y="14"/>
                  </a:lnTo>
                  <a:lnTo>
                    <a:pt x="84" y="14"/>
                  </a:lnTo>
                  <a:lnTo>
                    <a:pt x="89" y="14"/>
                  </a:lnTo>
                  <a:lnTo>
                    <a:pt x="98" y="19"/>
                  </a:lnTo>
                  <a:lnTo>
                    <a:pt x="108" y="24"/>
                  </a:lnTo>
                  <a:lnTo>
                    <a:pt x="117" y="33"/>
                  </a:lnTo>
                  <a:lnTo>
                    <a:pt x="122" y="47"/>
                  </a:lnTo>
                  <a:lnTo>
                    <a:pt x="126" y="71"/>
                  </a:lnTo>
                  <a:lnTo>
                    <a:pt x="122" y="103"/>
                  </a:lnTo>
                  <a:lnTo>
                    <a:pt x="112" y="113"/>
                  </a:lnTo>
                  <a:lnTo>
                    <a:pt x="98" y="1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2" name="Freeform 60"/>
            <p:cNvSpPr>
              <a:spLocks noEditPoints="1"/>
            </p:cNvSpPr>
            <p:nvPr/>
          </p:nvSpPr>
          <p:spPr bwMode="auto">
            <a:xfrm>
              <a:off x="6301702" y="810057"/>
              <a:ext cx="121619" cy="126063"/>
            </a:xfrm>
            <a:custGeom>
              <a:avLst/>
              <a:gdLst>
                <a:gd name="T0" fmla="*/ 117 w 235"/>
                <a:gd name="T1" fmla="*/ 0 h 243"/>
                <a:gd name="T2" fmla="*/ 113 w 235"/>
                <a:gd name="T3" fmla="*/ 0 h 243"/>
                <a:gd name="T4" fmla="*/ 66 w 235"/>
                <a:gd name="T5" fmla="*/ 4 h 243"/>
                <a:gd name="T6" fmla="*/ 28 w 235"/>
                <a:gd name="T7" fmla="*/ 28 h 243"/>
                <a:gd name="T8" fmla="*/ 5 w 235"/>
                <a:gd name="T9" fmla="*/ 65 h 243"/>
                <a:gd name="T10" fmla="*/ 0 w 235"/>
                <a:gd name="T11" fmla="*/ 117 h 243"/>
                <a:gd name="T12" fmla="*/ 5 w 235"/>
                <a:gd name="T13" fmla="*/ 173 h 243"/>
                <a:gd name="T14" fmla="*/ 28 w 235"/>
                <a:gd name="T15" fmla="*/ 211 h 243"/>
                <a:gd name="T16" fmla="*/ 66 w 235"/>
                <a:gd name="T17" fmla="*/ 234 h 243"/>
                <a:gd name="T18" fmla="*/ 113 w 235"/>
                <a:gd name="T19" fmla="*/ 243 h 243"/>
                <a:gd name="T20" fmla="*/ 117 w 235"/>
                <a:gd name="T21" fmla="*/ 243 h 243"/>
                <a:gd name="T22" fmla="*/ 164 w 235"/>
                <a:gd name="T23" fmla="*/ 234 h 243"/>
                <a:gd name="T24" fmla="*/ 202 w 235"/>
                <a:gd name="T25" fmla="*/ 211 h 243"/>
                <a:gd name="T26" fmla="*/ 225 w 235"/>
                <a:gd name="T27" fmla="*/ 173 h 243"/>
                <a:gd name="T28" fmla="*/ 235 w 235"/>
                <a:gd name="T29" fmla="*/ 117 h 243"/>
                <a:gd name="T30" fmla="*/ 225 w 235"/>
                <a:gd name="T31" fmla="*/ 65 h 243"/>
                <a:gd name="T32" fmla="*/ 202 w 235"/>
                <a:gd name="T33" fmla="*/ 28 h 243"/>
                <a:gd name="T34" fmla="*/ 164 w 235"/>
                <a:gd name="T35" fmla="*/ 4 h 243"/>
                <a:gd name="T36" fmla="*/ 117 w 235"/>
                <a:gd name="T37" fmla="*/ 0 h 243"/>
                <a:gd name="T38" fmla="*/ 117 w 235"/>
                <a:gd name="T39" fmla="*/ 229 h 243"/>
                <a:gd name="T40" fmla="*/ 117 w 235"/>
                <a:gd name="T41" fmla="*/ 229 h 243"/>
                <a:gd name="T42" fmla="*/ 113 w 235"/>
                <a:gd name="T43" fmla="*/ 229 h 243"/>
                <a:gd name="T44" fmla="*/ 89 w 235"/>
                <a:gd name="T45" fmla="*/ 220 h 243"/>
                <a:gd name="T46" fmla="*/ 70 w 235"/>
                <a:gd name="T47" fmla="*/ 201 h 243"/>
                <a:gd name="T48" fmla="*/ 56 w 235"/>
                <a:gd name="T49" fmla="*/ 164 h 243"/>
                <a:gd name="T50" fmla="*/ 52 w 235"/>
                <a:gd name="T51" fmla="*/ 140 h 243"/>
                <a:gd name="T52" fmla="*/ 52 w 235"/>
                <a:gd name="T53" fmla="*/ 112 h 243"/>
                <a:gd name="T54" fmla="*/ 56 w 235"/>
                <a:gd name="T55" fmla="*/ 65 h 243"/>
                <a:gd name="T56" fmla="*/ 70 w 235"/>
                <a:gd name="T57" fmla="*/ 37 h 243"/>
                <a:gd name="T58" fmla="*/ 89 w 235"/>
                <a:gd name="T59" fmla="*/ 18 h 243"/>
                <a:gd name="T60" fmla="*/ 113 w 235"/>
                <a:gd name="T61" fmla="*/ 9 h 243"/>
                <a:gd name="T62" fmla="*/ 141 w 235"/>
                <a:gd name="T63" fmla="*/ 18 h 243"/>
                <a:gd name="T64" fmla="*/ 160 w 235"/>
                <a:gd name="T65" fmla="*/ 42 h 243"/>
                <a:gd name="T66" fmla="*/ 174 w 235"/>
                <a:gd name="T67" fmla="*/ 75 h 243"/>
                <a:gd name="T68" fmla="*/ 178 w 235"/>
                <a:gd name="T69" fmla="*/ 126 h 243"/>
                <a:gd name="T70" fmla="*/ 174 w 235"/>
                <a:gd name="T71" fmla="*/ 164 h 243"/>
                <a:gd name="T72" fmla="*/ 164 w 235"/>
                <a:gd name="T73" fmla="*/ 197 h 243"/>
                <a:gd name="T74" fmla="*/ 145 w 235"/>
                <a:gd name="T75" fmla="*/ 220 h 243"/>
                <a:gd name="T76" fmla="*/ 131 w 235"/>
                <a:gd name="T77" fmla="*/ 225 h 243"/>
                <a:gd name="T78" fmla="*/ 117 w 235"/>
                <a:gd name="T79" fmla="*/ 229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35" h="243">
                  <a:moveTo>
                    <a:pt x="117" y="0"/>
                  </a:moveTo>
                  <a:lnTo>
                    <a:pt x="113" y="0"/>
                  </a:lnTo>
                  <a:lnTo>
                    <a:pt x="66" y="4"/>
                  </a:lnTo>
                  <a:lnTo>
                    <a:pt x="28" y="28"/>
                  </a:lnTo>
                  <a:lnTo>
                    <a:pt x="5" y="65"/>
                  </a:lnTo>
                  <a:lnTo>
                    <a:pt x="0" y="117"/>
                  </a:lnTo>
                  <a:lnTo>
                    <a:pt x="5" y="173"/>
                  </a:lnTo>
                  <a:lnTo>
                    <a:pt x="28" y="211"/>
                  </a:lnTo>
                  <a:lnTo>
                    <a:pt x="66" y="234"/>
                  </a:lnTo>
                  <a:lnTo>
                    <a:pt x="113" y="243"/>
                  </a:lnTo>
                  <a:lnTo>
                    <a:pt x="117" y="243"/>
                  </a:lnTo>
                  <a:lnTo>
                    <a:pt x="164" y="234"/>
                  </a:lnTo>
                  <a:lnTo>
                    <a:pt x="202" y="211"/>
                  </a:lnTo>
                  <a:lnTo>
                    <a:pt x="225" y="173"/>
                  </a:lnTo>
                  <a:lnTo>
                    <a:pt x="235" y="117"/>
                  </a:lnTo>
                  <a:lnTo>
                    <a:pt x="225" y="65"/>
                  </a:lnTo>
                  <a:lnTo>
                    <a:pt x="202" y="28"/>
                  </a:lnTo>
                  <a:lnTo>
                    <a:pt x="164" y="4"/>
                  </a:lnTo>
                  <a:lnTo>
                    <a:pt x="117" y="0"/>
                  </a:lnTo>
                  <a:close/>
                  <a:moveTo>
                    <a:pt x="117" y="229"/>
                  </a:moveTo>
                  <a:lnTo>
                    <a:pt x="117" y="229"/>
                  </a:lnTo>
                  <a:lnTo>
                    <a:pt x="113" y="229"/>
                  </a:lnTo>
                  <a:lnTo>
                    <a:pt x="89" y="220"/>
                  </a:lnTo>
                  <a:lnTo>
                    <a:pt x="70" y="201"/>
                  </a:lnTo>
                  <a:lnTo>
                    <a:pt x="56" y="164"/>
                  </a:lnTo>
                  <a:lnTo>
                    <a:pt x="52" y="140"/>
                  </a:lnTo>
                  <a:lnTo>
                    <a:pt x="52" y="112"/>
                  </a:lnTo>
                  <a:lnTo>
                    <a:pt x="56" y="65"/>
                  </a:lnTo>
                  <a:lnTo>
                    <a:pt x="70" y="37"/>
                  </a:lnTo>
                  <a:lnTo>
                    <a:pt x="89" y="18"/>
                  </a:lnTo>
                  <a:lnTo>
                    <a:pt x="113" y="9"/>
                  </a:lnTo>
                  <a:lnTo>
                    <a:pt x="141" y="18"/>
                  </a:lnTo>
                  <a:lnTo>
                    <a:pt x="160" y="42"/>
                  </a:lnTo>
                  <a:lnTo>
                    <a:pt x="174" y="75"/>
                  </a:lnTo>
                  <a:lnTo>
                    <a:pt x="178" y="126"/>
                  </a:lnTo>
                  <a:lnTo>
                    <a:pt x="174" y="164"/>
                  </a:lnTo>
                  <a:lnTo>
                    <a:pt x="164" y="197"/>
                  </a:lnTo>
                  <a:lnTo>
                    <a:pt x="145" y="220"/>
                  </a:lnTo>
                  <a:lnTo>
                    <a:pt x="131" y="225"/>
                  </a:lnTo>
                  <a:lnTo>
                    <a:pt x="117" y="22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3" name="Freeform 61"/>
            <p:cNvSpPr>
              <a:spLocks/>
            </p:cNvSpPr>
            <p:nvPr/>
          </p:nvSpPr>
          <p:spPr bwMode="auto">
            <a:xfrm>
              <a:off x="6452601" y="810057"/>
              <a:ext cx="110358" cy="126063"/>
            </a:xfrm>
            <a:custGeom>
              <a:avLst/>
              <a:gdLst>
                <a:gd name="T0" fmla="*/ 136 w 215"/>
                <a:gd name="T1" fmla="*/ 225 h 243"/>
                <a:gd name="T2" fmla="*/ 117 w 215"/>
                <a:gd name="T3" fmla="*/ 225 h 243"/>
                <a:gd name="T4" fmla="*/ 103 w 215"/>
                <a:gd name="T5" fmla="*/ 215 h 243"/>
                <a:gd name="T6" fmla="*/ 75 w 215"/>
                <a:gd name="T7" fmla="*/ 192 h 243"/>
                <a:gd name="T8" fmla="*/ 56 w 215"/>
                <a:gd name="T9" fmla="*/ 154 h 243"/>
                <a:gd name="T10" fmla="*/ 51 w 215"/>
                <a:gd name="T11" fmla="*/ 117 h 243"/>
                <a:gd name="T12" fmla="*/ 56 w 215"/>
                <a:gd name="T13" fmla="*/ 75 h 243"/>
                <a:gd name="T14" fmla="*/ 70 w 215"/>
                <a:gd name="T15" fmla="*/ 42 h 243"/>
                <a:gd name="T16" fmla="*/ 94 w 215"/>
                <a:gd name="T17" fmla="*/ 23 h 243"/>
                <a:gd name="T18" fmla="*/ 126 w 215"/>
                <a:gd name="T19" fmla="*/ 14 h 243"/>
                <a:gd name="T20" fmla="*/ 150 w 215"/>
                <a:gd name="T21" fmla="*/ 18 h 243"/>
                <a:gd name="T22" fmla="*/ 173 w 215"/>
                <a:gd name="T23" fmla="*/ 32 h 243"/>
                <a:gd name="T24" fmla="*/ 187 w 215"/>
                <a:gd name="T25" fmla="*/ 51 h 243"/>
                <a:gd name="T26" fmla="*/ 192 w 215"/>
                <a:gd name="T27" fmla="*/ 75 h 243"/>
                <a:gd name="T28" fmla="*/ 206 w 215"/>
                <a:gd name="T29" fmla="*/ 75 h 243"/>
                <a:gd name="T30" fmla="*/ 206 w 215"/>
                <a:gd name="T31" fmla="*/ 9 h 243"/>
                <a:gd name="T32" fmla="*/ 192 w 215"/>
                <a:gd name="T33" fmla="*/ 9 h 243"/>
                <a:gd name="T34" fmla="*/ 155 w 215"/>
                <a:gd name="T35" fmla="*/ 0 h 243"/>
                <a:gd name="T36" fmla="*/ 122 w 215"/>
                <a:gd name="T37" fmla="*/ 0 h 243"/>
                <a:gd name="T38" fmla="*/ 75 w 215"/>
                <a:gd name="T39" fmla="*/ 4 h 243"/>
                <a:gd name="T40" fmla="*/ 33 w 215"/>
                <a:gd name="T41" fmla="*/ 28 h 243"/>
                <a:gd name="T42" fmla="*/ 9 w 215"/>
                <a:gd name="T43" fmla="*/ 61 h 243"/>
                <a:gd name="T44" fmla="*/ 0 w 215"/>
                <a:gd name="T45" fmla="*/ 84 h 243"/>
                <a:gd name="T46" fmla="*/ 0 w 215"/>
                <a:gd name="T47" fmla="*/ 112 h 243"/>
                <a:gd name="T48" fmla="*/ 0 w 215"/>
                <a:gd name="T49" fmla="*/ 140 h 243"/>
                <a:gd name="T50" fmla="*/ 4 w 215"/>
                <a:gd name="T51" fmla="*/ 168 h 243"/>
                <a:gd name="T52" fmla="*/ 33 w 215"/>
                <a:gd name="T53" fmla="*/ 206 h 243"/>
                <a:gd name="T54" fmla="*/ 70 w 215"/>
                <a:gd name="T55" fmla="*/ 234 h 243"/>
                <a:gd name="T56" fmla="*/ 122 w 215"/>
                <a:gd name="T57" fmla="*/ 243 h 243"/>
                <a:gd name="T58" fmla="*/ 155 w 215"/>
                <a:gd name="T59" fmla="*/ 239 h 243"/>
                <a:gd name="T60" fmla="*/ 178 w 215"/>
                <a:gd name="T61" fmla="*/ 234 h 243"/>
                <a:gd name="T62" fmla="*/ 197 w 215"/>
                <a:gd name="T63" fmla="*/ 225 h 243"/>
                <a:gd name="T64" fmla="*/ 215 w 215"/>
                <a:gd name="T65" fmla="*/ 220 h 243"/>
                <a:gd name="T66" fmla="*/ 215 w 215"/>
                <a:gd name="T67" fmla="*/ 182 h 243"/>
                <a:gd name="T68" fmla="*/ 206 w 215"/>
                <a:gd name="T69" fmla="*/ 182 h 243"/>
                <a:gd name="T70" fmla="*/ 197 w 215"/>
                <a:gd name="T71" fmla="*/ 201 h 243"/>
                <a:gd name="T72" fmla="*/ 178 w 215"/>
                <a:gd name="T73" fmla="*/ 215 h 243"/>
                <a:gd name="T74" fmla="*/ 159 w 215"/>
                <a:gd name="T75" fmla="*/ 225 h 243"/>
                <a:gd name="T76" fmla="*/ 136 w 215"/>
                <a:gd name="T77" fmla="*/ 225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15" h="243">
                  <a:moveTo>
                    <a:pt x="136" y="225"/>
                  </a:moveTo>
                  <a:lnTo>
                    <a:pt x="117" y="225"/>
                  </a:lnTo>
                  <a:lnTo>
                    <a:pt x="103" y="215"/>
                  </a:lnTo>
                  <a:lnTo>
                    <a:pt x="75" y="192"/>
                  </a:lnTo>
                  <a:lnTo>
                    <a:pt x="56" y="154"/>
                  </a:lnTo>
                  <a:lnTo>
                    <a:pt x="51" y="117"/>
                  </a:lnTo>
                  <a:lnTo>
                    <a:pt x="56" y="75"/>
                  </a:lnTo>
                  <a:lnTo>
                    <a:pt x="70" y="42"/>
                  </a:lnTo>
                  <a:lnTo>
                    <a:pt x="94" y="23"/>
                  </a:lnTo>
                  <a:lnTo>
                    <a:pt x="126" y="14"/>
                  </a:lnTo>
                  <a:lnTo>
                    <a:pt x="150" y="18"/>
                  </a:lnTo>
                  <a:lnTo>
                    <a:pt x="173" y="32"/>
                  </a:lnTo>
                  <a:lnTo>
                    <a:pt x="187" y="51"/>
                  </a:lnTo>
                  <a:lnTo>
                    <a:pt x="192" y="75"/>
                  </a:lnTo>
                  <a:lnTo>
                    <a:pt x="206" y="75"/>
                  </a:lnTo>
                  <a:lnTo>
                    <a:pt x="206" y="9"/>
                  </a:lnTo>
                  <a:lnTo>
                    <a:pt x="192" y="9"/>
                  </a:lnTo>
                  <a:lnTo>
                    <a:pt x="155" y="0"/>
                  </a:lnTo>
                  <a:lnTo>
                    <a:pt x="122" y="0"/>
                  </a:lnTo>
                  <a:lnTo>
                    <a:pt x="75" y="4"/>
                  </a:lnTo>
                  <a:lnTo>
                    <a:pt x="33" y="28"/>
                  </a:lnTo>
                  <a:lnTo>
                    <a:pt x="9" y="61"/>
                  </a:lnTo>
                  <a:lnTo>
                    <a:pt x="0" y="84"/>
                  </a:lnTo>
                  <a:lnTo>
                    <a:pt x="0" y="112"/>
                  </a:lnTo>
                  <a:lnTo>
                    <a:pt x="0" y="140"/>
                  </a:lnTo>
                  <a:lnTo>
                    <a:pt x="4" y="168"/>
                  </a:lnTo>
                  <a:lnTo>
                    <a:pt x="33" y="206"/>
                  </a:lnTo>
                  <a:lnTo>
                    <a:pt x="70" y="234"/>
                  </a:lnTo>
                  <a:lnTo>
                    <a:pt x="122" y="243"/>
                  </a:lnTo>
                  <a:lnTo>
                    <a:pt x="155" y="239"/>
                  </a:lnTo>
                  <a:lnTo>
                    <a:pt x="178" y="234"/>
                  </a:lnTo>
                  <a:lnTo>
                    <a:pt x="197" y="225"/>
                  </a:lnTo>
                  <a:lnTo>
                    <a:pt x="215" y="220"/>
                  </a:lnTo>
                  <a:lnTo>
                    <a:pt x="215" y="182"/>
                  </a:lnTo>
                  <a:lnTo>
                    <a:pt x="206" y="182"/>
                  </a:lnTo>
                  <a:lnTo>
                    <a:pt x="197" y="201"/>
                  </a:lnTo>
                  <a:lnTo>
                    <a:pt x="178" y="215"/>
                  </a:lnTo>
                  <a:lnTo>
                    <a:pt x="159" y="225"/>
                  </a:lnTo>
                  <a:lnTo>
                    <a:pt x="136" y="22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4" name="Freeform 62"/>
            <p:cNvSpPr>
              <a:spLocks noEditPoints="1"/>
            </p:cNvSpPr>
            <p:nvPr/>
          </p:nvSpPr>
          <p:spPr bwMode="auto">
            <a:xfrm>
              <a:off x="6587734" y="812309"/>
              <a:ext cx="96846" cy="123812"/>
            </a:xfrm>
            <a:custGeom>
              <a:avLst/>
              <a:gdLst>
                <a:gd name="T0" fmla="*/ 127 w 188"/>
                <a:gd name="T1" fmla="*/ 113 h 239"/>
                <a:gd name="T2" fmla="*/ 127 w 188"/>
                <a:gd name="T3" fmla="*/ 108 h 239"/>
                <a:gd name="T4" fmla="*/ 146 w 188"/>
                <a:gd name="T5" fmla="*/ 103 h 239"/>
                <a:gd name="T6" fmla="*/ 164 w 188"/>
                <a:gd name="T7" fmla="*/ 89 h 239"/>
                <a:gd name="T8" fmla="*/ 174 w 188"/>
                <a:gd name="T9" fmla="*/ 75 h 239"/>
                <a:gd name="T10" fmla="*/ 179 w 188"/>
                <a:gd name="T11" fmla="*/ 52 h 239"/>
                <a:gd name="T12" fmla="*/ 169 w 188"/>
                <a:gd name="T13" fmla="*/ 28 h 239"/>
                <a:gd name="T14" fmla="*/ 155 w 188"/>
                <a:gd name="T15" fmla="*/ 10 h 239"/>
                <a:gd name="T16" fmla="*/ 132 w 188"/>
                <a:gd name="T17" fmla="*/ 0 h 239"/>
                <a:gd name="T18" fmla="*/ 104 w 188"/>
                <a:gd name="T19" fmla="*/ 0 h 239"/>
                <a:gd name="T20" fmla="*/ 0 w 188"/>
                <a:gd name="T21" fmla="*/ 0 h 239"/>
                <a:gd name="T22" fmla="*/ 0 w 188"/>
                <a:gd name="T23" fmla="*/ 10 h 239"/>
                <a:gd name="T24" fmla="*/ 29 w 188"/>
                <a:gd name="T25" fmla="*/ 19 h 239"/>
                <a:gd name="T26" fmla="*/ 29 w 188"/>
                <a:gd name="T27" fmla="*/ 216 h 239"/>
                <a:gd name="T28" fmla="*/ 0 w 188"/>
                <a:gd name="T29" fmla="*/ 225 h 239"/>
                <a:gd name="T30" fmla="*/ 0 w 188"/>
                <a:gd name="T31" fmla="*/ 239 h 239"/>
                <a:gd name="T32" fmla="*/ 104 w 188"/>
                <a:gd name="T33" fmla="*/ 239 h 239"/>
                <a:gd name="T34" fmla="*/ 108 w 188"/>
                <a:gd name="T35" fmla="*/ 239 h 239"/>
                <a:gd name="T36" fmla="*/ 136 w 188"/>
                <a:gd name="T37" fmla="*/ 235 h 239"/>
                <a:gd name="T38" fmla="*/ 164 w 188"/>
                <a:gd name="T39" fmla="*/ 221 h 239"/>
                <a:gd name="T40" fmla="*/ 179 w 188"/>
                <a:gd name="T41" fmla="*/ 202 h 239"/>
                <a:gd name="T42" fmla="*/ 188 w 188"/>
                <a:gd name="T43" fmla="*/ 174 h 239"/>
                <a:gd name="T44" fmla="*/ 183 w 188"/>
                <a:gd name="T45" fmla="*/ 146 h 239"/>
                <a:gd name="T46" fmla="*/ 169 w 188"/>
                <a:gd name="T47" fmla="*/ 132 h 239"/>
                <a:gd name="T48" fmla="*/ 150 w 188"/>
                <a:gd name="T49" fmla="*/ 117 h 239"/>
                <a:gd name="T50" fmla="*/ 127 w 188"/>
                <a:gd name="T51" fmla="*/ 113 h 239"/>
                <a:gd name="T52" fmla="*/ 75 w 188"/>
                <a:gd name="T53" fmla="*/ 14 h 239"/>
                <a:gd name="T54" fmla="*/ 75 w 188"/>
                <a:gd name="T55" fmla="*/ 14 h 239"/>
                <a:gd name="T56" fmla="*/ 89 w 188"/>
                <a:gd name="T57" fmla="*/ 14 h 239"/>
                <a:gd name="T58" fmla="*/ 104 w 188"/>
                <a:gd name="T59" fmla="*/ 19 h 239"/>
                <a:gd name="T60" fmla="*/ 122 w 188"/>
                <a:gd name="T61" fmla="*/ 33 h 239"/>
                <a:gd name="T62" fmla="*/ 127 w 188"/>
                <a:gd name="T63" fmla="*/ 42 h 239"/>
                <a:gd name="T64" fmla="*/ 127 w 188"/>
                <a:gd name="T65" fmla="*/ 61 h 239"/>
                <a:gd name="T66" fmla="*/ 122 w 188"/>
                <a:gd name="T67" fmla="*/ 89 h 239"/>
                <a:gd name="T68" fmla="*/ 113 w 188"/>
                <a:gd name="T69" fmla="*/ 99 h 239"/>
                <a:gd name="T70" fmla="*/ 104 w 188"/>
                <a:gd name="T71" fmla="*/ 103 h 239"/>
                <a:gd name="T72" fmla="*/ 94 w 188"/>
                <a:gd name="T73" fmla="*/ 108 h 239"/>
                <a:gd name="T74" fmla="*/ 75 w 188"/>
                <a:gd name="T75" fmla="*/ 108 h 239"/>
                <a:gd name="T76" fmla="*/ 75 w 188"/>
                <a:gd name="T77" fmla="*/ 14 h 239"/>
                <a:gd name="T78" fmla="*/ 104 w 188"/>
                <a:gd name="T79" fmla="*/ 221 h 239"/>
                <a:gd name="T80" fmla="*/ 104 w 188"/>
                <a:gd name="T81" fmla="*/ 221 h 239"/>
                <a:gd name="T82" fmla="*/ 85 w 188"/>
                <a:gd name="T83" fmla="*/ 216 h 239"/>
                <a:gd name="T84" fmla="*/ 75 w 188"/>
                <a:gd name="T85" fmla="*/ 207 h 239"/>
                <a:gd name="T86" fmla="*/ 75 w 188"/>
                <a:gd name="T87" fmla="*/ 117 h 239"/>
                <a:gd name="T88" fmla="*/ 94 w 188"/>
                <a:gd name="T89" fmla="*/ 117 h 239"/>
                <a:gd name="T90" fmla="*/ 104 w 188"/>
                <a:gd name="T91" fmla="*/ 117 h 239"/>
                <a:gd name="T92" fmla="*/ 118 w 188"/>
                <a:gd name="T93" fmla="*/ 127 h 239"/>
                <a:gd name="T94" fmla="*/ 132 w 188"/>
                <a:gd name="T95" fmla="*/ 136 h 239"/>
                <a:gd name="T96" fmla="*/ 136 w 188"/>
                <a:gd name="T97" fmla="*/ 155 h 239"/>
                <a:gd name="T98" fmla="*/ 136 w 188"/>
                <a:gd name="T99" fmla="*/ 174 h 239"/>
                <a:gd name="T100" fmla="*/ 136 w 188"/>
                <a:gd name="T101" fmla="*/ 193 h 239"/>
                <a:gd name="T102" fmla="*/ 132 w 188"/>
                <a:gd name="T103" fmla="*/ 207 h 239"/>
                <a:gd name="T104" fmla="*/ 118 w 188"/>
                <a:gd name="T105" fmla="*/ 216 h 239"/>
                <a:gd name="T106" fmla="*/ 104 w 188"/>
                <a:gd name="T107" fmla="*/ 221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" h="239">
                  <a:moveTo>
                    <a:pt x="127" y="113"/>
                  </a:moveTo>
                  <a:lnTo>
                    <a:pt x="127" y="108"/>
                  </a:lnTo>
                  <a:lnTo>
                    <a:pt x="146" y="103"/>
                  </a:lnTo>
                  <a:lnTo>
                    <a:pt x="164" y="89"/>
                  </a:lnTo>
                  <a:lnTo>
                    <a:pt x="174" y="75"/>
                  </a:lnTo>
                  <a:lnTo>
                    <a:pt x="179" y="52"/>
                  </a:lnTo>
                  <a:lnTo>
                    <a:pt x="169" y="28"/>
                  </a:lnTo>
                  <a:lnTo>
                    <a:pt x="155" y="10"/>
                  </a:lnTo>
                  <a:lnTo>
                    <a:pt x="132" y="0"/>
                  </a:lnTo>
                  <a:lnTo>
                    <a:pt x="10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9" y="19"/>
                  </a:lnTo>
                  <a:lnTo>
                    <a:pt x="29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04" y="239"/>
                  </a:lnTo>
                  <a:lnTo>
                    <a:pt x="108" y="239"/>
                  </a:lnTo>
                  <a:lnTo>
                    <a:pt x="136" y="235"/>
                  </a:lnTo>
                  <a:lnTo>
                    <a:pt x="164" y="221"/>
                  </a:lnTo>
                  <a:lnTo>
                    <a:pt x="179" y="202"/>
                  </a:lnTo>
                  <a:lnTo>
                    <a:pt x="188" y="174"/>
                  </a:lnTo>
                  <a:lnTo>
                    <a:pt x="183" y="146"/>
                  </a:lnTo>
                  <a:lnTo>
                    <a:pt x="169" y="132"/>
                  </a:lnTo>
                  <a:lnTo>
                    <a:pt x="150" y="117"/>
                  </a:lnTo>
                  <a:lnTo>
                    <a:pt x="127" y="113"/>
                  </a:lnTo>
                  <a:close/>
                  <a:moveTo>
                    <a:pt x="75" y="14"/>
                  </a:moveTo>
                  <a:lnTo>
                    <a:pt x="75" y="14"/>
                  </a:lnTo>
                  <a:lnTo>
                    <a:pt x="89" y="14"/>
                  </a:lnTo>
                  <a:lnTo>
                    <a:pt x="104" y="19"/>
                  </a:lnTo>
                  <a:lnTo>
                    <a:pt x="122" y="33"/>
                  </a:lnTo>
                  <a:lnTo>
                    <a:pt x="127" y="42"/>
                  </a:lnTo>
                  <a:lnTo>
                    <a:pt x="127" y="61"/>
                  </a:lnTo>
                  <a:lnTo>
                    <a:pt x="122" y="89"/>
                  </a:lnTo>
                  <a:lnTo>
                    <a:pt x="113" y="99"/>
                  </a:lnTo>
                  <a:lnTo>
                    <a:pt x="104" y="103"/>
                  </a:lnTo>
                  <a:lnTo>
                    <a:pt x="94" y="108"/>
                  </a:lnTo>
                  <a:lnTo>
                    <a:pt x="75" y="108"/>
                  </a:lnTo>
                  <a:lnTo>
                    <a:pt x="75" y="14"/>
                  </a:lnTo>
                  <a:close/>
                  <a:moveTo>
                    <a:pt x="104" y="221"/>
                  </a:moveTo>
                  <a:lnTo>
                    <a:pt x="104" y="221"/>
                  </a:lnTo>
                  <a:lnTo>
                    <a:pt x="85" y="216"/>
                  </a:lnTo>
                  <a:lnTo>
                    <a:pt x="75" y="207"/>
                  </a:lnTo>
                  <a:lnTo>
                    <a:pt x="75" y="117"/>
                  </a:lnTo>
                  <a:lnTo>
                    <a:pt x="94" y="117"/>
                  </a:lnTo>
                  <a:lnTo>
                    <a:pt x="104" y="117"/>
                  </a:lnTo>
                  <a:lnTo>
                    <a:pt x="118" y="127"/>
                  </a:lnTo>
                  <a:lnTo>
                    <a:pt x="132" y="136"/>
                  </a:lnTo>
                  <a:lnTo>
                    <a:pt x="136" y="155"/>
                  </a:lnTo>
                  <a:lnTo>
                    <a:pt x="136" y="174"/>
                  </a:lnTo>
                  <a:lnTo>
                    <a:pt x="136" y="193"/>
                  </a:lnTo>
                  <a:lnTo>
                    <a:pt x="132" y="207"/>
                  </a:lnTo>
                  <a:lnTo>
                    <a:pt x="118" y="216"/>
                  </a:lnTo>
                  <a:lnTo>
                    <a:pt x="104" y="22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5" name="Freeform 63"/>
            <p:cNvSpPr>
              <a:spLocks/>
            </p:cNvSpPr>
            <p:nvPr/>
          </p:nvSpPr>
          <p:spPr bwMode="auto">
            <a:xfrm>
              <a:off x="6711607" y="812309"/>
              <a:ext cx="90089" cy="123812"/>
            </a:xfrm>
            <a:custGeom>
              <a:avLst/>
              <a:gdLst>
                <a:gd name="T0" fmla="*/ 145 w 173"/>
                <a:gd name="T1" fmla="*/ 216 h 239"/>
                <a:gd name="T2" fmla="*/ 70 w 173"/>
                <a:gd name="T3" fmla="*/ 216 h 239"/>
                <a:gd name="T4" fmla="*/ 70 w 173"/>
                <a:gd name="T5" fmla="*/ 117 h 239"/>
                <a:gd name="T6" fmla="*/ 112 w 173"/>
                <a:gd name="T7" fmla="*/ 117 h 239"/>
                <a:gd name="T8" fmla="*/ 121 w 173"/>
                <a:gd name="T9" fmla="*/ 150 h 239"/>
                <a:gd name="T10" fmla="*/ 136 w 173"/>
                <a:gd name="T11" fmla="*/ 150 h 239"/>
                <a:gd name="T12" fmla="*/ 131 w 173"/>
                <a:gd name="T13" fmla="*/ 108 h 239"/>
                <a:gd name="T14" fmla="*/ 136 w 173"/>
                <a:gd name="T15" fmla="*/ 71 h 239"/>
                <a:gd name="T16" fmla="*/ 121 w 173"/>
                <a:gd name="T17" fmla="*/ 71 h 239"/>
                <a:gd name="T18" fmla="*/ 112 w 173"/>
                <a:gd name="T19" fmla="*/ 103 h 239"/>
                <a:gd name="T20" fmla="*/ 70 w 173"/>
                <a:gd name="T21" fmla="*/ 103 h 239"/>
                <a:gd name="T22" fmla="*/ 70 w 173"/>
                <a:gd name="T23" fmla="*/ 24 h 239"/>
                <a:gd name="T24" fmla="*/ 140 w 173"/>
                <a:gd name="T25" fmla="*/ 24 h 239"/>
                <a:gd name="T26" fmla="*/ 150 w 173"/>
                <a:gd name="T27" fmla="*/ 61 h 239"/>
                <a:gd name="T28" fmla="*/ 164 w 173"/>
                <a:gd name="T29" fmla="*/ 61 h 239"/>
                <a:gd name="T30" fmla="*/ 159 w 173"/>
                <a:gd name="T31" fmla="*/ 0 h 239"/>
                <a:gd name="T32" fmla="*/ 145 w 173"/>
                <a:gd name="T33" fmla="*/ 0 h 239"/>
                <a:gd name="T34" fmla="*/ 0 w 173"/>
                <a:gd name="T35" fmla="*/ 0 h 239"/>
                <a:gd name="T36" fmla="*/ 0 w 173"/>
                <a:gd name="T37" fmla="*/ 10 h 239"/>
                <a:gd name="T38" fmla="*/ 23 w 173"/>
                <a:gd name="T39" fmla="*/ 19 h 239"/>
                <a:gd name="T40" fmla="*/ 23 w 173"/>
                <a:gd name="T41" fmla="*/ 216 h 239"/>
                <a:gd name="T42" fmla="*/ 0 w 173"/>
                <a:gd name="T43" fmla="*/ 225 h 239"/>
                <a:gd name="T44" fmla="*/ 0 w 173"/>
                <a:gd name="T45" fmla="*/ 239 h 239"/>
                <a:gd name="T46" fmla="*/ 164 w 173"/>
                <a:gd name="T47" fmla="*/ 239 h 239"/>
                <a:gd name="T48" fmla="*/ 173 w 173"/>
                <a:gd name="T49" fmla="*/ 169 h 239"/>
                <a:gd name="T50" fmla="*/ 159 w 173"/>
                <a:gd name="T51" fmla="*/ 169 h 239"/>
                <a:gd name="T52" fmla="*/ 145 w 173"/>
                <a:gd name="T53" fmla="*/ 216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73" h="239">
                  <a:moveTo>
                    <a:pt x="145" y="216"/>
                  </a:moveTo>
                  <a:lnTo>
                    <a:pt x="70" y="216"/>
                  </a:lnTo>
                  <a:lnTo>
                    <a:pt x="70" y="117"/>
                  </a:lnTo>
                  <a:lnTo>
                    <a:pt x="112" y="117"/>
                  </a:lnTo>
                  <a:lnTo>
                    <a:pt x="121" y="150"/>
                  </a:lnTo>
                  <a:lnTo>
                    <a:pt x="136" y="150"/>
                  </a:lnTo>
                  <a:lnTo>
                    <a:pt x="131" y="108"/>
                  </a:lnTo>
                  <a:lnTo>
                    <a:pt x="136" y="71"/>
                  </a:lnTo>
                  <a:lnTo>
                    <a:pt x="121" y="71"/>
                  </a:lnTo>
                  <a:lnTo>
                    <a:pt x="112" y="103"/>
                  </a:lnTo>
                  <a:lnTo>
                    <a:pt x="70" y="103"/>
                  </a:lnTo>
                  <a:lnTo>
                    <a:pt x="70" y="24"/>
                  </a:lnTo>
                  <a:lnTo>
                    <a:pt x="140" y="24"/>
                  </a:lnTo>
                  <a:lnTo>
                    <a:pt x="150" y="61"/>
                  </a:lnTo>
                  <a:lnTo>
                    <a:pt x="164" y="61"/>
                  </a:lnTo>
                  <a:lnTo>
                    <a:pt x="159" y="0"/>
                  </a:lnTo>
                  <a:lnTo>
                    <a:pt x="145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3" y="19"/>
                  </a:lnTo>
                  <a:lnTo>
                    <a:pt x="2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4" y="239"/>
                  </a:lnTo>
                  <a:lnTo>
                    <a:pt x="173" y="169"/>
                  </a:lnTo>
                  <a:lnTo>
                    <a:pt x="159" y="169"/>
                  </a:lnTo>
                  <a:lnTo>
                    <a:pt x="145" y="2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6" name="Freeform 64"/>
            <p:cNvSpPr>
              <a:spLocks/>
            </p:cNvSpPr>
            <p:nvPr/>
          </p:nvSpPr>
          <p:spPr bwMode="auto">
            <a:xfrm>
              <a:off x="6828722" y="812309"/>
              <a:ext cx="186933" cy="157579"/>
            </a:xfrm>
            <a:custGeom>
              <a:avLst/>
              <a:gdLst>
                <a:gd name="T0" fmla="*/ 328 w 365"/>
                <a:gd name="T1" fmla="*/ 19 h 305"/>
                <a:gd name="T2" fmla="*/ 361 w 365"/>
                <a:gd name="T3" fmla="*/ 10 h 305"/>
                <a:gd name="T4" fmla="*/ 361 w 365"/>
                <a:gd name="T5" fmla="*/ 0 h 305"/>
                <a:gd name="T6" fmla="*/ 248 w 365"/>
                <a:gd name="T7" fmla="*/ 0 h 305"/>
                <a:gd name="T8" fmla="*/ 248 w 365"/>
                <a:gd name="T9" fmla="*/ 10 h 305"/>
                <a:gd name="T10" fmla="*/ 276 w 365"/>
                <a:gd name="T11" fmla="*/ 19 h 305"/>
                <a:gd name="T12" fmla="*/ 276 w 365"/>
                <a:gd name="T13" fmla="*/ 216 h 305"/>
                <a:gd name="T14" fmla="*/ 201 w 365"/>
                <a:gd name="T15" fmla="*/ 216 h 305"/>
                <a:gd name="T16" fmla="*/ 201 w 365"/>
                <a:gd name="T17" fmla="*/ 19 h 305"/>
                <a:gd name="T18" fmla="*/ 234 w 365"/>
                <a:gd name="T19" fmla="*/ 10 h 305"/>
                <a:gd name="T20" fmla="*/ 234 w 365"/>
                <a:gd name="T21" fmla="*/ 0 h 305"/>
                <a:gd name="T22" fmla="*/ 121 w 365"/>
                <a:gd name="T23" fmla="*/ 0 h 305"/>
                <a:gd name="T24" fmla="*/ 121 w 365"/>
                <a:gd name="T25" fmla="*/ 10 h 305"/>
                <a:gd name="T26" fmla="*/ 154 w 365"/>
                <a:gd name="T27" fmla="*/ 19 h 305"/>
                <a:gd name="T28" fmla="*/ 154 w 365"/>
                <a:gd name="T29" fmla="*/ 216 h 305"/>
                <a:gd name="T30" fmla="*/ 75 w 365"/>
                <a:gd name="T31" fmla="*/ 216 h 305"/>
                <a:gd name="T32" fmla="*/ 75 w 365"/>
                <a:gd name="T33" fmla="*/ 19 h 305"/>
                <a:gd name="T34" fmla="*/ 107 w 365"/>
                <a:gd name="T35" fmla="*/ 10 h 305"/>
                <a:gd name="T36" fmla="*/ 107 w 365"/>
                <a:gd name="T37" fmla="*/ 0 h 305"/>
                <a:gd name="T38" fmla="*/ 0 w 365"/>
                <a:gd name="T39" fmla="*/ 0 h 305"/>
                <a:gd name="T40" fmla="*/ 0 w 365"/>
                <a:gd name="T41" fmla="*/ 10 h 305"/>
                <a:gd name="T42" fmla="*/ 28 w 365"/>
                <a:gd name="T43" fmla="*/ 19 h 305"/>
                <a:gd name="T44" fmla="*/ 28 w 365"/>
                <a:gd name="T45" fmla="*/ 216 h 305"/>
                <a:gd name="T46" fmla="*/ 0 w 365"/>
                <a:gd name="T47" fmla="*/ 221 h 305"/>
                <a:gd name="T48" fmla="*/ 0 w 365"/>
                <a:gd name="T49" fmla="*/ 235 h 305"/>
                <a:gd name="T50" fmla="*/ 337 w 365"/>
                <a:gd name="T51" fmla="*/ 235 h 305"/>
                <a:gd name="T52" fmla="*/ 337 w 365"/>
                <a:gd name="T53" fmla="*/ 305 h 305"/>
                <a:gd name="T54" fmla="*/ 347 w 365"/>
                <a:gd name="T55" fmla="*/ 305 h 305"/>
                <a:gd name="T56" fmla="*/ 365 w 365"/>
                <a:gd name="T57" fmla="*/ 216 h 305"/>
                <a:gd name="T58" fmla="*/ 328 w 365"/>
                <a:gd name="T59" fmla="*/ 216 h 305"/>
                <a:gd name="T60" fmla="*/ 328 w 365"/>
                <a:gd name="T61" fmla="*/ 19 h 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65" h="305">
                  <a:moveTo>
                    <a:pt x="328" y="19"/>
                  </a:moveTo>
                  <a:lnTo>
                    <a:pt x="361" y="10"/>
                  </a:lnTo>
                  <a:lnTo>
                    <a:pt x="361" y="0"/>
                  </a:lnTo>
                  <a:lnTo>
                    <a:pt x="248" y="0"/>
                  </a:lnTo>
                  <a:lnTo>
                    <a:pt x="248" y="10"/>
                  </a:lnTo>
                  <a:lnTo>
                    <a:pt x="276" y="19"/>
                  </a:lnTo>
                  <a:lnTo>
                    <a:pt x="276" y="216"/>
                  </a:lnTo>
                  <a:lnTo>
                    <a:pt x="201" y="216"/>
                  </a:lnTo>
                  <a:lnTo>
                    <a:pt x="201" y="19"/>
                  </a:lnTo>
                  <a:lnTo>
                    <a:pt x="234" y="10"/>
                  </a:lnTo>
                  <a:lnTo>
                    <a:pt x="234" y="0"/>
                  </a:lnTo>
                  <a:lnTo>
                    <a:pt x="121" y="0"/>
                  </a:lnTo>
                  <a:lnTo>
                    <a:pt x="121" y="10"/>
                  </a:lnTo>
                  <a:lnTo>
                    <a:pt x="154" y="19"/>
                  </a:lnTo>
                  <a:lnTo>
                    <a:pt x="154" y="216"/>
                  </a:lnTo>
                  <a:lnTo>
                    <a:pt x="75" y="216"/>
                  </a:lnTo>
                  <a:lnTo>
                    <a:pt x="75" y="19"/>
                  </a:lnTo>
                  <a:lnTo>
                    <a:pt x="107" y="10"/>
                  </a:lnTo>
                  <a:lnTo>
                    <a:pt x="107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1"/>
                  </a:lnTo>
                  <a:lnTo>
                    <a:pt x="0" y="235"/>
                  </a:lnTo>
                  <a:lnTo>
                    <a:pt x="337" y="235"/>
                  </a:lnTo>
                  <a:lnTo>
                    <a:pt x="337" y="305"/>
                  </a:lnTo>
                  <a:lnTo>
                    <a:pt x="347" y="305"/>
                  </a:lnTo>
                  <a:lnTo>
                    <a:pt x="365" y="216"/>
                  </a:lnTo>
                  <a:lnTo>
                    <a:pt x="328" y="216"/>
                  </a:lnTo>
                  <a:lnTo>
                    <a:pt x="328" y="1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7" name="Freeform 65"/>
            <p:cNvSpPr>
              <a:spLocks/>
            </p:cNvSpPr>
            <p:nvPr/>
          </p:nvSpPr>
          <p:spPr bwMode="auto">
            <a:xfrm>
              <a:off x="7033673" y="812309"/>
              <a:ext cx="90089" cy="123812"/>
            </a:xfrm>
            <a:custGeom>
              <a:avLst/>
              <a:gdLst>
                <a:gd name="T0" fmla="*/ 178 w 178"/>
                <a:gd name="T1" fmla="*/ 169 h 239"/>
                <a:gd name="T2" fmla="*/ 164 w 178"/>
                <a:gd name="T3" fmla="*/ 169 h 239"/>
                <a:gd name="T4" fmla="*/ 145 w 178"/>
                <a:gd name="T5" fmla="*/ 216 h 239"/>
                <a:gd name="T6" fmla="*/ 75 w 178"/>
                <a:gd name="T7" fmla="*/ 216 h 239"/>
                <a:gd name="T8" fmla="*/ 75 w 178"/>
                <a:gd name="T9" fmla="*/ 117 h 239"/>
                <a:gd name="T10" fmla="*/ 117 w 178"/>
                <a:gd name="T11" fmla="*/ 117 h 239"/>
                <a:gd name="T12" fmla="*/ 127 w 178"/>
                <a:gd name="T13" fmla="*/ 150 h 239"/>
                <a:gd name="T14" fmla="*/ 136 w 178"/>
                <a:gd name="T15" fmla="*/ 150 h 239"/>
                <a:gd name="T16" fmla="*/ 136 w 178"/>
                <a:gd name="T17" fmla="*/ 132 h 239"/>
                <a:gd name="T18" fmla="*/ 136 w 178"/>
                <a:gd name="T19" fmla="*/ 108 h 239"/>
                <a:gd name="T20" fmla="*/ 136 w 178"/>
                <a:gd name="T21" fmla="*/ 89 h 239"/>
                <a:gd name="T22" fmla="*/ 136 w 178"/>
                <a:gd name="T23" fmla="*/ 71 h 239"/>
                <a:gd name="T24" fmla="*/ 127 w 178"/>
                <a:gd name="T25" fmla="*/ 71 h 239"/>
                <a:gd name="T26" fmla="*/ 117 w 178"/>
                <a:gd name="T27" fmla="*/ 103 h 239"/>
                <a:gd name="T28" fmla="*/ 75 w 178"/>
                <a:gd name="T29" fmla="*/ 103 h 239"/>
                <a:gd name="T30" fmla="*/ 75 w 178"/>
                <a:gd name="T31" fmla="*/ 24 h 239"/>
                <a:gd name="T32" fmla="*/ 145 w 178"/>
                <a:gd name="T33" fmla="*/ 24 h 239"/>
                <a:gd name="T34" fmla="*/ 155 w 178"/>
                <a:gd name="T35" fmla="*/ 61 h 239"/>
                <a:gd name="T36" fmla="*/ 164 w 178"/>
                <a:gd name="T37" fmla="*/ 61 h 239"/>
                <a:gd name="T38" fmla="*/ 164 w 178"/>
                <a:gd name="T39" fmla="*/ 0 h 239"/>
                <a:gd name="T40" fmla="*/ 0 w 178"/>
                <a:gd name="T41" fmla="*/ 0 h 239"/>
                <a:gd name="T42" fmla="*/ 0 w 178"/>
                <a:gd name="T43" fmla="*/ 10 h 239"/>
                <a:gd name="T44" fmla="*/ 28 w 178"/>
                <a:gd name="T45" fmla="*/ 19 h 239"/>
                <a:gd name="T46" fmla="*/ 28 w 178"/>
                <a:gd name="T47" fmla="*/ 216 h 239"/>
                <a:gd name="T48" fmla="*/ 0 w 178"/>
                <a:gd name="T49" fmla="*/ 225 h 239"/>
                <a:gd name="T50" fmla="*/ 0 w 178"/>
                <a:gd name="T51" fmla="*/ 239 h 239"/>
                <a:gd name="T52" fmla="*/ 169 w 178"/>
                <a:gd name="T53" fmla="*/ 239 h 239"/>
                <a:gd name="T54" fmla="*/ 178 w 178"/>
                <a:gd name="T55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239">
                  <a:moveTo>
                    <a:pt x="178" y="169"/>
                  </a:moveTo>
                  <a:lnTo>
                    <a:pt x="164" y="169"/>
                  </a:lnTo>
                  <a:lnTo>
                    <a:pt x="145" y="216"/>
                  </a:lnTo>
                  <a:lnTo>
                    <a:pt x="75" y="216"/>
                  </a:lnTo>
                  <a:lnTo>
                    <a:pt x="75" y="117"/>
                  </a:lnTo>
                  <a:lnTo>
                    <a:pt x="117" y="117"/>
                  </a:lnTo>
                  <a:lnTo>
                    <a:pt x="127" y="150"/>
                  </a:lnTo>
                  <a:lnTo>
                    <a:pt x="136" y="150"/>
                  </a:lnTo>
                  <a:lnTo>
                    <a:pt x="136" y="132"/>
                  </a:lnTo>
                  <a:lnTo>
                    <a:pt x="136" y="108"/>
                  </a:lnTo>
                  <a:lnTo>
                    <a:pt x="136" y="89"/>
                  </a:lnTo>
                  <a:lnTo>
                    <a:pt x="136" y="71"/>
                  </a:lnTo>
                  <a:lnTo>
                    <a:pt x="127" y="71"/>
                  </a:lnTo>
                  <a:lnTo>
                    <a:pt x="117" y="103"/>
                  </a:lnTo>
                  <a:lnTo>
                    <a:pt x="75" y="103"/>
                  </a:lnTo>
                  <a:lnTo>
                    <a:pt x="75" y="24"/>
                  </a:lnTo>
                  <a:lnTo>
                    <a:pt x="145" y="24"/>
                  </a:lnTo>
                  <a:lnTo>
                    <a:pt x="155" y="61"/>
                  </a:lnTo>
                  <a:lnTo>
                    <a:pt x="164" y="61"/>
                  </a:lnTo>
                  <a:lnTo>
                    <a:pt x="16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69" y="239"/>
                  </a:lnTo>
                  <a:lnTo>
                    <a:pt x="178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8" name="Freeform 66"/>
            <p:cNvSpPr>
              <a:spLocks/>
            </p:cNvSpPr>
            <p:nvPr/>
          </p:nvSpPr>
          <p:spPr bwMode="auto">
            <a:xfrm>
              <a:off x="7148536" y="812309"/>
              <a:ext cx="130630" cy="123812"/>
            </a:xfrm>
            <a:custGeom>
              <a:avLst/>
              <a:gdLst>
                <a:gd name="T0" fmla="*/ 141 w 253"/>
                <a:gd name="T1" fmla="*/ 10 h 239"/>
                <a:gd name="T2" fmla="*/ 174 w 253"/>
                <a:gd name="T3" fmla="*/ 19 h 239"/>
                <a:gd name="T4" fmla="*/ 174 w 253"/>
                <a:gd name="T5" fmla="*/ 103 h 239"/>
                <a:gd name="T6" fmla="*/ 75 w 253"/>
                <a:gd name="T7" fmla="*/ 103 h 239"/>
                <a:gd name="T8" fmla="*/ 75 w 253"/>
                <a:gd name="T9" fmla="*/ 19 h 239"/>
                <a:gd name="T10" fmla="*/ 113 w 253"/>
                <a:gd name="T11" fmla="*/ 10 h 239"/>
                <a:gd name="T12" fmla="*/ 113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3 w 253"/>
                <a:gd name="T27" fmla="*/ 239 h 239"/>
                <a:gd name="T28" fmla="*/ 113 w 253"/>
                <a:gd name="T29" fmla="*/ 225 h 239"/>
                <a:gd name="T30" fmla="*/ 75 w 253"/>
                <a:gd name="T31" fmla="*/ 216 h 239"/>
                <a:gd name="T32" fmla="*/ 75 w 253"/>
                <a:gd name="T33" fmla="*/ 122 h 239"/>
                <a:gd name="T34" fmla="*/ 174 w 253"/>
                <a:gd name="T35" fmla="*/ 122 h 239"/>
                <a:gd name="T36" fmla="*/ 174 w 253"/>
                <a:gd name="T37" fmla="*/ 216 h 239"/>
                <a:gd name="T38" fmla="*/ 141 w 253"/>
                <a:gd name="T39" fmla="*/ 225 h 239"/>
                <a:gd name="T40" fmla="*/ 141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1 w 253"/>
                <a:gd name="T47" fmla="*/ 216 h 239"/>
                <a:gd name="T48" fmla="*/ 221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1 w 253"/>
                <a:gd name="T55" fmla="*/ 0 h 239"/>
                <a:gd name="T56" fmla="*/ 141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1" y="10"/>
                  </a:moveTo>
                  <a:lnTo>
                    <a:pt x="174" y="19"/>
                  </a:lnTo>
                  <a:lnTo>
                    <a:pt x="174" y="103"/>
                  </a:lnTo>
                  <a:lnTo>
                    <a:pt x="75" y="103"/>
                  </a:lnTo>
                  <a:lnTo>
                    <a:pt x="75" y="19"/>
                  </a:lnTo>
                  <a:lnTo>
                    <a:pt x="113" y="10"/>
                  </a:lnTo>
                  <a:lnTo>
                    <a:pt x="11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3" y="239"/>
                  </a:lnTo>
                  <a:lnTo>
                    <a:pt x="113" y="225"/>
                  </a:lnTo>
                  <a:lnTo>
                    <a:pt x="75" y="216"/>
                  </a:lnTo>
                  <a:lnTo>
                    <a:pt x="75" y="122"/>
                  </a:lnTo>
                  <a:lnTo>
                    <a:pt x="174" y="122"/>
                  </a:lnTo>
                  <a:lnTo>
                    <a:pt x="174" y="216"/>
                  </a:lnTo>
                  <a:lnTo>
                    <a:pt x="141" y="225"/>
                  </a:lnTo>
                  <a:lnTo>
                    <a:pt x="141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1" y="216"/>
                  </a:lnTo>
                  <a:lnTo>
                    <a:pt x="221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1" y="0"/>
                  </a:lnTo>
                  <a:lnTo>
                    <a:pt x="141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89" name="Freeform 67"/>
            <p:cNvSpPr>
              <a:spLocks/>
            </p:cNvSpPr>
            <p:nvPr/>
          </p:nvSpPr>
          <p:spPr bwMode="auto">
            <a:xfrm>
              <a:off x="7301687" y="812309"/>
              <a:ext cx="130630" cy="123812"/>
            </a:xfrm>
            <a:custGeom>
              <a:avLst/>
              <a:gdLst>
                <a:gd name="T0" fmla="*/ 140 w 253"/>
                <a:gd name="T1" fmla="*/ 10 h 239"/>
                <a:gd name="T2" fmla="*/ 173 w 253"/>
                <a:gd name="T3" fmla="*/ 19 h 239"/>
                <a:gd name="T4" fmla="*/ 173 w 253"/>
                <a:gd name="T5" fmla="*/ 24 h 239"/>
                <a:gd name="T6" fmla="*/ 75 w 253"/>
                <a:gd name="T7" fmla="*/ 183 h 239"/>
                <a:gd name="T8" fmla="*/ 75 w 253"/>
                <a:gd name="T9" fmla="*/ 19 h 239"/>
                <a:gd name="T10" fmla="*/ 112 w 253"/>
                <a:gd name="T11" fmla="*/ 10 h 239"/>
                <a:gd name="T12" fmla="*/ 112 w 253"/>
                <a:gd name="T13" fmla="*/ 0 h 239"/>
                <a:gd name="T14" fmla="*/ 0 w 253"/>
                <a:gd name="T15" fmla="*/ 0 h 239"/>
                <a:gd name="T16" fmla="*/ 0 w 253"/>
                <a:gd name="T17" fmla="*/ 10 h 239"/>
                <a:gd name="T18" fmla="*/ 28 w 253"/>
                <a:gd name="T19" fmla="*/ 19 h 239"/>
                <a:gd name="T20" fmla="*/ 28 w 253"/>
                <a:gd name="T21" fmla="*/ 216 h 239"/>
                <a:gd name="T22" fmla="*/ 0 w 253"/>
                <a:gd name="T23" fmla="*/ 225 h 239"/>
                <a:gd name="T24" fmla="*/ 0 w 253"/>
                <a:gd name="T25" fmla="*/ 239 h 239"/>
                <a:gd name="T26" fmla="*/ 112 w 253"/>
                <a:gd name="T27" fmla="*/ 239 h 239"/>
                <a:gd name="T28" fmla="*/ 112 w 253"/>
                <a:gd name="T29" fmla="*/ 225 h 239"/>
                <a:gd name="T30" fmla="*/ 75 w 253"/>
                <a:gd name="T31" fmla="*/ 216 h 239"/>
                <a:gd name="T32" fmla="*/ 75 w 253"/>
                <a:gd name="T33" fmla="*/ 216 h 239"/>
                <a:gd name="T34" fmla="*/ 173 w 253"/>
                <a:gd name="T35" fmla="*/ 52 h 239"/>
                <a:gd name="T36" fmla="*/ 173 w 253"/>
                <a:gd name="T37" fmla="*/ 216 h 239"/>
                <a:gd name="T38" fmla="*/ 140 w 253"/>
                <a:gd name="T39" fmla="*/ 225 h 239"/>
                <a:gd name="T40" fmla="*/ 140 w 253"/>
                <a:gd name="T41" fmla="*/ 239 h 239"/>
                <a:gd name="T42" fmla="*/ 253 w 253"/>
                <a:gd name="T43" fmla="*/ 239 h 239"/>
                <a:gd name="T44" fmla="*/ 253 w 253"/>
                <a:gd name="T45" fmla="*/ 225 h 239"/>
                <a:gd name="T46" fmla="*/ 220 w 253"/>
                <a:gd name="T47" fmla="*/ 216 h 239"/>
                <a:gd name="T48" fmla="*/ 220 w 253"/>
                <a:gd name="T49" fmla="*/ 19 h 239"/>
                <a:gd name="T50" fmla="*/ 253 w 253"/>
                <a:gd name="T51" fmla="*/ 10 h 239"/>
                <a:gd name="T52" fmla="*/ 253 w 253"/>
                <a:gd name="T53" fmla="*/ 0 h 239"/>
                <a:gd name="T54" fmla="*/ 140 w 253"/>
                <a:gd name="T55" fmla="*/ 0 h 239"/>
                <a:gd name="T56" fmla="*/ 140 w 253"/>
                <a:gd name="T57" fmla="*/ 10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53" h="239">
                  <a:moveTo>
                    <a:pt x="140" y="10"/>
                  </a:moveTo>
                  <a:lnTo>
                    <a:pt x="173" y="19"/>
                  </a:lnTo>
                  <a:lnTo>
                    <a:pt x="173" y="24"/>
                  </a:lnTo>
                  <a:lnTo>
                    <a:pt x="75" y="183"/>
                  </a:lnTo>
                  <a:lnTo>
                    <a:pt x="75" y="19"/>
                  </a:lnTo>
                  <a:lnTo>
                    <a:pt x="112" y="10"/>
                  </a:lnTo>
                  <a:lnTo>
                    <a:pt x="11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8" y="19"/>
                  </a:lnTo>
                  <a:lnTo>
                    <a:pt x="28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12" y="239"/>
                  </a:lnTo>
                  <a:lnTo>
                    <a:pt x="112" y="225"/>
                  </a:lnTo>
                  <a:lnTo>
                    <a:pt x="75" y="216"/>
                  </a:lnTo>
                  <a:lnTo>
                    <a:pt x="75" y="216"/>
                  </a:lnTo>
                  <a:lnTo>
                    <a:pt x="173" y="52"/>
                  </a:lnTo>
                  <a:lnTo>
                    <a:pt x="173" y="216"/>
                  </a:lnTo>
                  <a:lnTo>
                    <a:pt x="140" y="225"/>
                  </a:lnTo>
                  <a:lnTo>
                    <a:pt x="140" y="239"/>
                  </a:lnTo>
                  <a:lnTo>
                    <a:pt x="253" y="239"/>
                  </a:lnTo>
                  <a:lnTo>
                    <a:pt x="253" y="225"/>
                  </a:lnTo>
                  <a:lnTo>
                    <a:pt x="220" y="216"/>
                  </a:lnTo>
                  <a:lnTo>
                    <a:pt x="220" y="19"/>
                  </a:lnTo>
                  <a:lnTo>
                    <a:pt x="253" y="10"/>
                  </a:lnTo>
                  <a:lnTo>
                    <a:pt x="253" y="0"/>
                  </a:lnTo>
                  <a:lnTo>
                    <a:pt x="140" y="0"/>
                  </a:lnTo>
                  <a:lnTo>
                    <a:pt x="140" y="1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0" name="Freeform 68"/>
            <p:cNvSpPr>
              <a:spLocks/>
            </p:cNvSpPr>
            <p:nvPr/>
          </p:nvSpPr>
          <p:spPr bwMode="auto">
            <a:xfrm>
              <a:off x="7450333" y="812309"/>
              <a:ext cx="94593" cy="123812"/>
            </a:xfrm>
            <a:custGeom>
              <a:avLst/>
              <a:gdLst>
                <a:gd name="T0" fmla="*/ 169 w 183"/>
                <a:gd name="T1" fmla="*/ 169 h 239"/>
                <a:gd name="T2" fmla="*/ 150 w 183"/>
                <a:gd name="T3" fmla="*/ 216 h 239"/>
                <a:gd name="T4" fmla="*/ 80 w 183"/>
                <a:gd name="T5" fmla="*/ 216 h 239"/>
                <a:gd name="T6" fmla="*/ 80 w 183"/>
                <a:gd name="T7" fmla="*/ 117 h 239"/>
                <a:gd name="T8" fmla="*/ 122 w 183"/>
                <a:gd name="T9" fmla="*/ 117 h 239"/>
                <a:gd name="T10" fmla="*/ 132 w 183"/>
                <a:gd name="T11" fmla="*/ 150 h 239"/>
                <a:gd name="T12" fmla="*/ 141 w 183"/>
                <a:gd name="T13" fmla="*/ 150 h 239"/>
                <a:gd name="T14" fmla="*/ 141 w 183"/>
                <a:gd name="T15" fmla="*/ 108 h 239"/>
                <a:gd name="T16" fmla="*/ 141 w 183"/>
                <a:gd name="T17" fmla="*/ 71 h 239"/>
                <a:gd name="T18" fmla="*/ 132 w 183"/>
                <a:gd name="T19" fmla="*/ 71 h 239"/>
                <a:gd name="T20" fmla="*/ 122 w 183"/>
                <a:gd name="T21" fmla="*/ 103 h 239"/>
                <a:gd name="T22" fmla="*/ 80 w 183"/>
                <a:gd name="T23" fmla="*/ 103 h 239"/>
                <a:gd name="T24" fmla="*/ 80 w 183"/>
                <a:gd name="T25" fmla="*/ 24 h 239"/>
                <a:gd name="T26" fmla="*/ 146 w 183"/>
                <a:gd name="T27" fmla="*/ 24 h 239"/>
                <a:gd name="T28" fmla="*/ 160 w 183"/>
                <a:gd name="T29" fmla="*/ 61 h 239"/>
                <a:gd name="T30" fmla="*/ 169 w 183"/>
                <a:gd name="T31" fmla="*/ 61 h 239"/>
                <a:gd name="T32" fmla="*/ 169 w 183"/>
                <a:gd name="T33" fmla="*/ 0 h 239"/>
                <a:gd name="T34" fmla="*/ 0 w 183"/>
                <a:gd name="T35" fmla="*/ 0 h 239"/>
                <a:gd name="T36" fmla="*/ 0 w 183"/>
                <a:gd name="T37" fmla="*/ 10 h 239"/>
                <a:gd name="T38" fmla="*/ 33 w 183"/>
                <a:gd name="T39" fmla="*/ 19 h 239"/>
                <a:gd name="T40" fmla="*/ 33 w 183"/>
                <a:gd name="T41" fmla="*/ 216 h 239"/>
                <a:gd name="T42" fmla="*/ 0 w 183"/>
                <a:gd name="T43" fmla="*/ 225 h 239"/>
                <a:gd name="T44" fmla="*/ 0 w 183"/>
                <a:gd name="T45" fmla="*/ 239 h 239"/>
                <a:gd name="T46" fmla="*/ 174 w 183"/>
                <a:gd name="T47" fmla="*/ 239 h 239"/>
                <a:gd name="T48" fmla="*/ 183 w 183"/>
                <a:gd name="T49" fmla="*/ 169 h 239"/>
                <a:gd name="T50" fmla="*/ 169 w 183"/>
                <a:gd name="T51" fmla="*/ 16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83" h="239">
                  <a:moveTo>
                    <a:pt x="169" y="169"/>
                  </a:moveTo>
                  <a:lnTo>
                    <a:pt x="150" y="216"/>
                  </a:lnTo>
                  <a:lnTo>
                    <a:pt x="80" y="216"/>
                  </a:lnTo>
                  <a:lnTo>
                    <a:pt x="80" y="117"/>
                  </a:lnTo>
                  <a:lnTo>
                    <a:pt x="122" y="117"/>
                  </a:lnTo>
                  <a:lnTo>
                    <a:pt x="132" y="150"/>
                  </a:lnTo>
                  <a:lnTo>
                    <a:pt x="141" y="150"/>
                  </a:lnTo>
                  <a:lnTo>
                    <a:pt x="141" y="108"/>
                  </a:lnTo>
                  <a:lnTo>
                    <a:pt x="141" y="71"/>
                  </a:lnTo>
                  <a:lnTo>
                    <a:pt x="132" y="71"/>
                  </a:lnTo>
                  <a:lnTo>
                    <a:pt x="122" y="103"/>
                  </a:lnTo>
                  <a:lnTo>
                    <a:pt x="80" y="103"/>
                  </a:lnTo>
                  <a:lnTo>
                    <a:pt x="80" y="24"/>
                  </a:lnTo>
                  <a:lnTo>
                    <a:pt x="146" y="24"/>
                  </a:lnTo>
                  <a:lnTo>
                    <a:pt x="160" y="61"/>
                  </a:lnTo>
                  <a:lnTo>
                    <a:pt x="169" y="61"/>
                  </a:lnTo>
                  <a:lnTo>
                    <a:pt x="169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33" y="19"/>
                  </a:lnTo>
                  <a:lnTo>
                    <a:pt x="33" y="216"/>
                  </a:lnTo>
                  <a:lnTo>
                    <a:pt x="0" y="225"/>
                  </a:lnTo>
                  <a:lnTo>
                    <a:pt x="0" y="239"/>
                  </a:lnTo>
                  <a:lnTo>
                    <a:pt x="174" y="239"/>
                  </a:lnTo>
                  <a:lnTo>
                    <a:pt x="183" y="169"/>
                  </a:lnTo>
                  <a:lnTo>
                    <a:pt x="169" y="16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  <p:sp>
          <p:nvSpPr>
            <p:cNvPr id="91" name="Freeform 69"/>
            <p:cNvSpPr>
              <a:spLocks noEditPoints="1"/>
            </p:cNvSpPr>
            <p:nvPr/>
          </p:nvSpPr>
          <p:spPr bwMode="auto">
            <a:xfrm>
              <a:off x="6671066" y="443121"/>
              <a:ext cx="238735" cy="308406"/>
            </a:xfrm>
            <a:custGeom>
              <a:avLst/>
              <a:gdLst>
                <a:gd name="T0" fmla="*/ 230 w 464"/>
                <a:gd name="T1" fmla="*/ 595 h 595"/>
                <a:gd name="T2" fmla="*/ 431 w 464"/>
                <a:gd name="T3" fmla="*/ 511 h 595"/>
                <a:gd name="T4" fmla="*/ 464 w 464"/>
                <a:gd name="T5" fmla="*/ 65 h 595"/>
                <a:gd name="T6" fmla="*/ 230 w 464"/>
                <a:gd name="T7" fmla="*/ 0 h 595"/>
                <a:gd name="T8" fmla="*/ 117 w 464"/>
                <a:gd name="T9" fmla="*/ 32 h 595"/>
                <a:gd name="T10" fmla="*/ 0 w 464"/>
                <a:gd name="T11" fmla="*/ 65 h 595"/>
                <a:gd name="T12" fmla="*/ 28 w 464"/>
                <a:gd name="T13" fmla="*/ 511 h 595"/>
                <a:gd name="T14" fmla="*/ 117 w 464"/>
                <a:gd name="T15" fmla="*/ 548 h 595"/>
                <a:gd name="T16" fmla="*/ 230 w 464"/>
                <a:gd name="T17" fmla="*/ 595 h 595"/>
                <a:gd name="T18" fmla="*/ 117 w 464"/>
                <a:gd name="T19" fmla="*/ 61 h 595"/>
                <a:gd name="T20" fmla="*/ 117 w 464"/>
                <a:gd name="T21" fmla="*/ 61 h 595"/>
                <a:gd name="T22" fmla="*/ 164 w 464"/>
                <a:gd name="T23" fmla="*/ 46 h 595"/>
                <a:gd name="T24" fmla="*/ 117 w 464"/>
                <a:gd name="T25" fmla="*/ 126 h 595"/>
                <a:gd name="T26" fmla="*/ 75 w 464"/>
                <a:gd name="T27" fmla="*/ 201 h 595"/>
                <a:gd name="T28" fmla="*/ 75 w 464"/>
                <a:gd name="T29" fmla="*/ 145 h 595"/>
                <a:gd name="T30" fmla="*/ 70 w 464"/>
                <a:gd name="T31" fmla="*/ 75 h 595"/>
                <a:gd name="T32" fmla="*/ 117 w 464"/>
                <a:gd name="T33" fmla="*/ 61 h 595"/>
                <a:gd name="T34" fmla="*/ 56 w 464"/>
                <a:gd name="T35" fmla="*/ 492 h 595"/>
                <a:gd name="T36" fmla="*/ 56 w 464"/>
                <a:gd name="T37" fmla="*/ 492 h 595"/>
                <a:gd name="T38" fmla="*/ 37 w 464"/>
                <a:gd name="T39" fmla="*/ 295 h 595"/>
                <a:gd name="T40" fmla="*/ 80 w 464"/>
                <a:gd name="T41" fmla="*/ 300 h 595"/>
                <a:gd name="T42" fmla="*/ 117 w 464"/>
                <a:gd name="T43" fmla="*/ 243 h 595"/>
                <a:gd name="T44" fmla="*/ 164 w 464"/>
                <a:gd name="T45" fmla="*/ 159 h 595"/>
                <a:gd name="T46" fmla="*/ 164 w 464"/>
                <a:gd name="T47" fmla="*/ 211 h 595"/>
                <a:gd name="T48" fmla="*/ 164 w 464"/>
                <a:gd name="T49" fmla="*/ 304 h 595"/>
                <a:gd name="T50" fmla="*/ 230 w 464"/>
                <a:gd name="T51" fmla="*/ 309 h 595"/>
                <a:gd name="T52" fmla="*/ 230 w 464"/>
                <a:gd name="T53" fmla="*/ 28 h 595"/>
                <a:gd name="T54" fmla="*/ 436 w 464"/>
                <a:gd name="T55" fmla="*/ 84 h 595"/>
                <a:gd name="T56" fmla="*/ 422 w 464"/>
                <a:gd name="T57" fmla="*/ 295 h 595"/>
                <a:gd name="T58" fmla="*/ 361 w 464"/>
                <a:gd name="T59" fmla="*/ 300 h 595"/>
                <a:gd name="T60" fmla="*/ 370 w 464"/>
                <a:gd name="T61" fmla="*/ 121 h 595"/>
                <a:gd name="T62" fmla="*/ 300 w 464"/>
                <a:gd name="T63" fmla="*/ 107 h 595"/>
                <a:gd name="T64" fmla="*/ 295 w 464"/>
                <a:gd name="T65" fmla="*/ 304 h 595"/>
                <a:gd name="T66" fmla="*/ 230 w 464"/>
                <a:gd name="T67" fmla="*/ 309 h 595"/>
                <a:gd name="T68" fmla="*/ 230 w 464"/>
                <a:gd name="T69" fmla="*/ 562 h 595"/>
                <a:gd name="T70" fmla="*/ 117 w 464"/>
                <a:gd name="T71" fmla="*/ 520 h 595"/>
                <a:gd name="T72" fmla="*/ 56 w 464"/>
                <a:gd name="T73" fmla="*/ 492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4" h="595">
                  <a:moveTo>
                    <a:pt x="230" y="595"/>
                  </a:moveTo>
                  <a:lnTo>
                    <a:pt x="431" y="511"/>
                  </a:lnTo>
                  <a:lnTo>
                    <a:pt x="464" y="65"/>
                  </a:lnTo>
                  <a:lnTo>
                    <a:pt x="230" y="0"/>
                  </a:lnTo>
                  <a:lnTo>
                    <a:pt x="117" y="32"/>
                  </a:lnTo>
                  <a:lnTo>
                    <a:pt x="0" y="65"/>
                  </a:lnTo>
                  <a:lnTo>
                    <a:pt x="28" y="511"/>
                  </a:lnTo>
                  <a:lnTo>
                    <a:pt x="117" y="548"/>
                  </a:lnTo>
                  <a:lnTo>
                    <a:pt x="230" y="595"/>
                  </a:lnTo>
                  <a:close/>
                  <a:moveTo>
                    <a:pt x="117" y="61"/>
                  </a:moveTo>
                  <a:lnTo>
                    <a:pt x="117" y="61"/>
                  </a:lnTo>
                  <a:lnTo>
                    <a:pt x="164" y="46"/>
                  </a:lnTo>
                  <a:lnTo>
                    <a:pt x="117" y="126"/>
                  </a:lnTo>
                  <a:lnTo>
                    <a:pt x="75" y="201"/>
                  </a:lnTo>
                  <a:lnTo>
                    <a:pt x="75" y="145"/>
                  </a:lnTo>
                  <a:lnTo>
                    <a:pt x="70" y="75"/>
                  </a:lnTo>
                  <a:lnTo>
                    <a:pt x="117" y="61"/>
                  </a:lnTo>
                  <a:close/>
                  <a:moveTo>
                    <a:pt x="56" y="492"/>
                  </a:moveTo>
                  <a:lnTo>
                    <a:pt x="56" y="492"/>
                  </a:lnTo>
                  <a:lnTo>
                    <a:pt x="37" y="295"/>
                  </a:lnTo>
                  <a:lnTo>
                    <a:pt x="80" y="300"/>
                  </a:lnTo>
                  <a:lnTo>
                    <a:pt x="117" y="243"/>
                  </a:lnTo>
                  <a:lnTo>
                    <a:pt x="164" y="159"/>
                  </a:lnTo>
                  <a:lnTo>
                    <a:pt x="164" y="211"/>
                  </a:lnTo>
                  <a:lnTo>
                    <a:pt x="164" y="304"/>
                  </a:lnTo>
                  <a:lnTo>
                    <a:pt x="230" y="309"/>
                  </a:lnTo>
                  <a:lnTo>
                    <a:pt x="230" y="28"/>
                  </a:lnTo>
                  <a:lnTo>
                    <a:pt x="436" y="84"/>
                  </a:lnTo>
                  <a:lnTo>
                    <a:pt x="422" y="295"/>
                  </a:lnTo>
                  <a:lnTo>
                    <a:pt x="361" y="300"/>
                  </a:lnTo>
                  <a:lnTo>
                    <a:pt x="370" y="121"/>
                  </a:lnTo>
                  <a:lnTo>
                    <a:pt x="300" y="107"/>
                  </a:lnTo>
                  <a:lnTo>
                    <a:pt x="295" y="304"/>
                  </a:lnTo>
                  <a:lnTo>
                    <a:pt x="230" y="309"/>
                  </a:lnTo>
                  <a:lnTo>
                    <a:pt x="230" y="562"/>
                  </a:lnTo>
                  <a:lnTo>
                    <a:pt x="117" y="520"/>
                  </a:lnTo>
                  <a:lnTo>
                    <a:pt x="56" y="4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ru-RU" sz="2400" dirty="0"/>
            </a:p>
          </p:txBody>
        </p:sp>
      </p:grpSp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35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67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5731" y="4126712"/>
            <a:ext cx="11620084" cy="1772793"/>
          </a:xfrm>
        </p:spPr>
        <p:txBody>
          <a:bodyPr vert="horz" wrap="square" lIns="0" tIns="0" rIns="0" bIns="0" rtlCol="0">
            <a:spAutoFit/>
          </a:bodyPr>
          <a:lstStyle/>
          <a:p>
            <a:pPr algn="l">
              <a:spcBef>
                <a:spcPts val="0"/>
              </a:spcBef>
            </a:pPr>
            <a:endParaRPr lang="ru-RU" sz="2000" b="1" dirty="0" smtClean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ru-RU" sz="36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Галина Васильевна Крюкова, ведущий методист</a:t>
            </a:r>
          </a:p>
          <a:p>
            <a:pPr algn="l">
              <a:spcBef>
                <a:spcPts val="0"/>
              </a:spcBef>
            </a:pPr>
            <a:endParaRPr lang="en-US" sz="3600" b="1" dirty="0" smtClean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spcBef>
                <a:spcPts val="0"/>
              </a:spcBef>
            </a:pPr>
            <a:r>
              <a:rPr lang="en-US" sz="3600" b="1" dirty="0" smtClean="0">
                <a:solidFill>
                  <a:srgbClr val="2D2B8D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Kryukova@prosv.ru</a:t>
            </a:r>
            <a:endParaRPr lang="ru-RU" sz="3600" dirty="0">
              <a:solidFill>
                <a:srgbClr val="2D2B8D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8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6184" y="6405331"/>
            <a:ext cx="11819633" cy="2871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включая размещение в Интернете и </a:t>
            </a:r>
            <a:endParaRPr lang="en-US" sz="933" dirty="0" smtClean="0">
              <a:solidFill>
                <a:schemeClr val="bg1">
                  <a:lumMod val="50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корпоративных сетях, а также запись в память ЭВМ,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для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частного или публичного использования, без письменного разрешения владельца авторских прав. © АО </a:t>
            </a:r>
            <a:r>
              <a:rPr lang="en-US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</a:t>
            </a:r>
            <a:r>
              <a:rPr lang="ru-RU" sz="933" dirty="0" smtClean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Издательство 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«Просвещение», 20</a:t>
            </a:r>
            <a:r>
              <a:rPr lang="en-US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0</a:t>
            </a:r>
            <a:r>
              <a:rPr lang="ru-RU" sz="933" dirty="0">
                <a:solidFill>
                  <a:schemeClr val="bg1">
                    <a:lumMod val="50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г.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9254339" y="1860330"/>
            <a:ext cx="1023938" cy="336550"/>
            <a:chOff x="8812213" y="4892675"/>
            <a:chExt cx="1023938" cy="336550"/>
          </a:xfrm>
        </p:grpSpPr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8812213" y="4892675"/>
              <a:ext cx="215900" cy="331788"/>
            </a:xfrm>
            <a:custGeom>
              <a:avLst/>
              <a:gdLst>
                <a:gd name="T0" fmla="*/ 137 w 592"/>
                <a:gd name="T1" fmla="*/ 34 h 904"/>
                <a:gd name="T2" fmla="*/ 126 w 592"/>
                <a:gd name="T3" fmla="*/ 55 h 904"/>
                <a:gd name="T4" fmla="*/ 133 w 592"/>
                <a:gd name="T5" fmla="*/ 81 h 904"/>
                <a:gd name="T6" fmla="*/ 146 w 592"/>
                <a:gd name="T7" fmla="*/ 112 h 904"/>
                <a:gd name="T8" fmla="*/ 138 w 592"/>
                <a:gd name="T9" fmla="*/ 135 h 904"/>
                <a:gd name="T10" fmla="*/ 57 w 592"/>
                <a:gd name="T11" fmla="*/ 176 h 904"/>
                <a:gd name="T12" fmla="*/ 42 w 592"/>
                <a:gd name="T13" fmla="*/ 191 h 904"/>
                <a:gd name="T14" fmla="*/ 23 w 592"/>
                <a:gd name="T15" fmla="*/ 240 h 904"/>
                <a:gd name="T16" fmla="*/ 6 w 592"/>
                <a:gd name="T17" fmla="*/ 292 h 904"/>
                <a:gd name="T18" fmla="*/ 7 w 592"/>
                <a:gd name="T19" fmla="*/ 326 h 904"/>
                <a:gd name="T20" fmla="*/ 21 w 592"/>
                <a:gd name="T21" fmla="*/ 371 h 904"/>
                <a:gd name="T22" fmla="*/ 14 w 592"/>
                <a:gd name="T23" fmla="*/ 421 h 904"/>
                <a:gd name="T24" fmla="*/ 175 w 592"/>
                <a:gd name="T25" fmla="*/ 620 h 904"/>
                <a:gd name="T26" fmla="*/ 208 w 592"/>
                <a:gd name="T27" fmla="*/ 661 h 904"/>
                <a:gd name="T28" fmla="*/ 70 w 592"/>
                <a:gd name="T29" fmla="*/ 666 h 904"/>
                <a:gd name="T30" fmla="*/ 86 w 592"/>
                <a:gd name="T31" fmla="*/ 709 h 904"/>
                <a:gd name="T32" fmla="*/ 14 w 592"/>
                <a:gd name="T33" fmla="*/ 768 h 904"/>
                <a:gd name="T34" fmla="*/ 205 w 592"/>
                <a:gd name="T35" fmla="*/ 745 h 904"/>
                <a:gd name="T36" fmla="*/ 275 w 592"/>
                <a:gd name="T37" fmla="*/ 787 h 904"/>
                <a:gd name="T38" fmla="*/ 275 w 592"/>
                <a:gd name="T39" fmla="*/ 756 h 904"/>
                <a:gd name="T40" fmla="*/ 288 w 592"/>
                <a:gd name="T41" fmla="*/ 764 h 904"/>
                <a:gd name="T42" fmla="*/ 295 w 592"/>
                <a:gd name="T43" fmla="*/ 803 h 904"/>
                <a:gd name="T44" fmla="*/ 287 w 592"/>
                <a:gd name="T45" fmla="*/ 846 h 904"/>
                <a:gd name="T46" fmla="*/ 316 w 592"/>
                <a:gd name="T47" fmla="*/ 867 h 904"/>
                <a:gd name="T48" fmla="*/ 334 w 592"/>
                <a:gd name="T49" fmla="*/ 892 h 904"/>
                <a:gd name="T50" fmla="*/ 389 w 592"/>
                <a:gd name="T51" fmla="*/ 898 h 904"/>
                <a:gd name="T52" fmla="*/ 375 w 592"/>
                <a:gd name="T53" fmla="*/ 852 h 904"/>
                <a:gd name="T54" fmla="*/ 340 w 592"/>
                <a:gd name="T55" fmla="*/ 764 h 904"/>
                <a:gd name="T56" fmla="*/ 352 w 592"/>
                <a:gd name="T57" fmla="*/ 756 h 904"/>
                <a:gd name="T58" fmla="*/ 436 w 592"/>
                <a:gd name="T59" fmla="*/ 745 h 904"/>
                <a:gd name="T60" fmla="*/ 352 w 592"/>
                <a:gd name="T61" fmla="*/ 702 h 904"/>
                <a:gd name="T62" fmla="*/ 400 w 592"/>
                <a:gd name="T63" fmla="*/ 655 h 904"/>
                <a:gd name="T64" fmla="*/ 425 w 592"/>
                <a:gd name="T65" fmla="*/ 657 h 904"/>
                <a:gd name="T66" fmla="*/ 448 w 592"/>
                <a:gd name="T67" fmla="*/ 734 h 904"/>
                <a:gd name="T68" fmla="*/ 459 w 592"/>
                <a:gd name="T69" fmla="*/ 759 h 904"/>
                <a:gd name="T70" fmla="*/ 494 w 592"/>
                <a:gd name="T71" fmla="*/ 759 h 904"/>
                <a:gd name="T72" fmla="*/ 581 w 592"/>
                <a:gd name="T73" fmla="*/ 741 h 904"/>
                <a:gd name="T74" fmla="*/ 591 w 592"/>
                <a:gd name="T75" fmla="*/ 730 h 904"/>
                <a:gd name="T76" fmla="*/ 548 w 592"/>
                <a:gd name="T77" fmla="*/ 707 h 904"/>
                <a:gd name="T78" fmla="*/ 452 w 592"/>
                <a:gd name="T79" fmla="*/ 623 h 904"/>
                <a:gd name="T80" fmla="*/ 466 w 592"/>
                <a:gd name="T81" fmla="*/ 585 h 904"/>
                <a:gd name="T82" fmla="*/ 387 w 592"/>
                <a:gd name="T83" fmla="*/ 415 h 904"/>
                <a:gd name="T84" fmla="*/ 370 w 592"/>
                <a:gd name="T85" fmla="*/ 380 h 904"/>
                <a:gd name="T86" fmla="*/ 377 w 592"/>
                <a:gd name="T87" fmla="*/ 358 h 904"/>
                <a:gd name="T88" fmla="*/ 356 w 592"/>
                <a:gd name="T89" fmla="*/ 310 h 904"/>
                <a:gd name="T90" fmla="*/ 325 w 592"/>
                <a:gd name="T91" fmla="*/ 254 h 904"/>
                <a:gd name="T92" fmla="*/ 291 w 592"/>
                <a:gd name="T93" fmla="*/ 186 h 904"/>
                <a:gd name="T94" fmla="*/ 277 w 592"/>
                <a:gd name="T95" fmla="*/ 176 h 904"/>
                <a:gd name="T96" fmla="*/ 211 w 592"/>
                <a:gd name="T97" fmla="*/ 153 h 904"/>
                <a:gd name="T98" fmla="*/ 218 w 592"/>
                <a:gd name="T99" fmla="*/ 140 h 904"/>
                <a:gd name="T100" fmla="*/ 232 w 592"/>
                <a:gd name="T101" fmla="*/ 109 h 904"/>
                <a:gd name="T102" fmla="*/ 239 w 592"/>
                <a:gd name="T103" fmla="*/ 95 h 904"/>
                <a:gd name="T104" fmla="*/ 235 w 592"/>
                <a:gd name="T105" fmla="*/ 74 h 904"/>
                <a:gd name="T106" fmla="*/ 244 w 592"/>
                <a:gd name="T107" fmla="*/ 46 h 904"/>
                <a:gd name="T108" fmla="*/ 234 w 592"/>
                <a:gd name="T109" fmla="*/ 18 h 904"/>
                <a:gd name="T110" fmla="*/ 218 w 592"/>
                <a:gd name="T111" fmla="*/ 11 h 904"/>
                <a:gd name="T112" fmla="*/ 202 w 592"/>
                <a:gd name="T113" fmla="*/ 0 h 904"/>
                <a:gd name="T114" fmla="*/ 163 w 592"/>
                <a:gd name="T115" fmla="*/ 11 h 904"/>
                <a:gd name="T116" fmla="*/ 258 w 592"/>
                <a:gd name="T117" fmla="*/ 620 h 904"/>
                <a:gd name="T118" fmla="*/ 237 w 592"/>
                <a:gd name="T119" fmla="*/ 678 h 904"/>
                <a:gd name="T120" fmla="*/ 227 w 592"/>
                <a:gd name="T121" fmla="*/ 645 h 904"/>
                <a:gd name="T122" fmla="*/ 231 w 592"/>
                <a:gd name="T123" fmla="*/ 9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92" h="904">
                  <a:moveTo>
                    <a:pt x="163" y="11"/>
                  </a:moveTo>
                  <a:cubicBezTo>
                    <a:pt x="161" y="13"/>
                    <a:pt x="157" y="13"/>
                    <a:pt x="155" y="15"/>
                  </a:cubicBezTo>
                  <a:cubicBezTo>
                    <a:pt x="149" y="21"/>
                    <a:pt x="142" y="27"/>
                    <a:pt x="137" y="34"/>
                  </a:cubicBezTo>
                  <a:cubicBezTo>
                    <a:pt x="137" y="34"/>
                    <a:pt x="132" y="39"/>
                    <a:pt x="133" y="39"/>
                  </a:cubicBezTo>
                  <a:cubicBezTo>
                    <a:pt x="128" y="39"/>
                    <a:pt x="129" y="47"/>
                    <a:pt x="128" y="50"/>
                  </a:cubicBezTo>
                  <a:cubicBezTo>
                    <a:pt x="127" y="52"/>
                    <a:pt x="126" y="53"/>
                    <a:pt x="126" y="55"/>
                  </a:cubicBezTo>
                  <a:cubicBezTo>
                    <a:pt x="126" y="57"/>
                    <a:pt x="126" y="60"/>
                    <a:pt x="127" y="62"/>
                  </a:cubicBezTo>
                  <a:cubicBezTo>
                    <a:pt x="127" y="65"/>
                    <a:pt x="127" y="69"/>
                    <a:pt x="128" y="72"/>
                  </a:cubicBezTo>
                  <a:cubicBezTo>
                    <a:pt x="130" y="75"/>
                    <a:pt x="132" y="78"/>
                    <a:pt x="133" y="81"/>
                  </a:cubicBezTo>
                  <a:cubicBezTo>
                    <a:pt x="133" y="84"/>
                    <a:pt x="133" y="88"/>
                    <a:pt x="133" y="92"/>
                  </a:cubicBezTo>
                  <a:cubicBezTo>
                    <a:pt x="134" y="94"/>
                    <a:pt x="134" y="96"/>
                    <a:pt x="135" y="97"/>
                  </a:cubicBezTo>
                  <a:cubicBezTo>
                    <a:pt x="138" y="103"/>
                    <a:pt x="148" y="105"/>
                    <a:pt x="146" y="112"/>
                  </a:cubicBezTo>
                  <a:cubicBezTo>
                    <a:pt x="145" y="118"/>
                    <a:pt x="148" y="125"/>
                    <a:pt x="145" y="130"/>
                  </a:cubicBezTo>
                  <a:cubicBezTo>
                    <a:pt x="144" y="131"/>
                    <a:pt x="143" y="132"/>
                    <a:pt x="142" y="133"/>
                  </a:cubicBezTo>
                  <a:cubicBezTo>
                    <a:pt x="140" y="134"/>
                    <a:pt x="139" y="134"/>
                    <a:pt x="138" y="135"/>
                  </a:cubicBezTo>
                  <a:cubicBezTo>
                    <a:pt x="135" y="138"/>
                    <a:pt x="129" y="149"/>
                    <a:pt x="128" y="153"/>
                  </a:cubicBezTo>
                  <a:cubicBezTo>
                    <a:pt x="126" y="157"/>
                    <a:pt x="125" y="161"/>
                    <a:pt x="121" y="162"/>
                  </a:cubicBezTo>
                  <a:cubicBezTo>
                    <a:pt x="101" y="168"/>
                    <a:pt x="78" y="171"/>
                    <a:pt x="57" y="176"/>
                  </a:cubicBezTo>
                  <a:cubicBezTo>
                    <a:pt x="54" y="177"/>
                    <a:pt x="52" y="179"/>
                    <a:pt x="49" y="181"/>
                  </a:cubicBezTo>
                  <a:cubicBezTo>
                    <a:pt x="47" y="183"/>
                    <a:pt x="45" y="185"/>
                    <a:pt x="43" y="188"/>
                  </a:cubicBezTo>
                  <a:cubicBezTo>
                    <a:pt x="43" y="188"/>
                    <a:pt x="42" y="191"/>
                    <a:pt x="42" y="191"/>
                  </a:cubicBezTo>
                  <a:lnTo>
                    <a:pt x="24" y="192"/>
                  </a:lnTo>
                  <a:lnTo>
                    <a:pt x="27" y="224"/>
                  </a:lnTo>
                  <a:cubicBezTo>
                    <a:pt x="24" y="230"/>
                    <a:pt x="24" y="235"/>
                    <a:pt x="23" y="240"/>
                  </a:cubicBezTo>
                  <a:cubicBezTo>
                    <a:pt x="21" y="248"/>
                    <a:pt x="19" y="256"/>
                    <a:pt x="18" y="264"/>
                  </a:cubicBezTo>
                  <a:cubicBezTo>
                    <a:pt x="16" y="272"/>
                    <a:pt x="16" y="280"/>
                    <a:pt x="11" y="287"/>
                  </a:cubicBezTo>
                  <a:cubicBezTo>
                    <a:pt x="10" y="289"/>
                    <a:pt x="7" y="290"/>
                    <a:pt x="6" y="292"/>
                  </a:cubicBezTo>
                  <a:cubicBezTo>
                    <a:pt x="6" y="295"/>
                    <a:pt x="4" y="298"/>
                    <a:pt x="6" y="302"/>
                  </a:cubicBezTo>
                  <a:cubicBezTo>
                    <a:pt x="7" y="305"/>
                    <a:pt x="10" y="307"/>
                    <a:pt x="11" y="310"/>
                  </a:cubicBezTo>
                  <a:cubicBezTo>
                    <a:pt x="11" y="315"/>
                    <a:pt x="8" y="321"/>
                    <a:pt x="7" y="326"/>
                  </a:cubicBezTo>
                  <a:cubicBezTo>
                    <a:pt x="3" y="339"/>
                    <a:pt x="0" y="357"/>
                    <a:pt x="17" y="363"/>
                  </a:cubicBezTo>
                  <a:cubicBezTo>
                    <a:pt x="20" y="364"/>
                    <a:pt x="23" y="366"/>
                    <a:pt x="22" y="369"/>
                  </a:cubicBezTo>
                  <a:cubicBezTo>
                    <a:pt x="22" y="370"/>
                    <a:pt x="21" y="371"/>
                    <a:pt x="21" y="371"/>
                  </a:cubicBezTo>
                  <a:cubicBezTo>
                    <a:pt x="20" y="377"/>
                    <a:pt x="24" y="384"/>
                    <a:pt x="24" y="384"/>
                  </a:cubicBezTo>
                  <a:lnTo>
                    <a:pt x="13" y="388"/>
                  </a:lnTo>
                  <a:lnTo>
                    <a:pt x="14" y="421"/>
                  </a:lnTo>
                  <a:lnTo>
                    <a:pt x="33" y="421"/>
                  </a:lnTo>
                  <a:cubicBezTo>
                    <a:pt x="37" y="428"/>
                    <a:pt x="56" y="616"/>
                    <a:pt x="61" y="622"/>
                  </a:cubicBezTo>
                  <a:cubicBezTo>
                    <a:pt x="99" y="621"/>
                    <a:pt x="175" y="620"/>
                    <a:pt x="175" y="620"/>
                  </a:cubicBezTo>
                  <a:cubicBezTo>
                    <a:pt x="175" y="620"/>
                    <a:pt x="182" y="642"/>
                    <a:pt x="184" y="644"/>
                  </a:cubicBezTo>
                  <a:lnTo>
                    <a:pt x="209" y="645"/>
                  </a:lnTo>
                  <a:lnTo>
                    <a:pt x="208" y="661"/>
                  </a:lnTo>
                  <a:lnTo>
                    <a:pt x="200" y="661"/>
                  </a:lnTo>
                  <a:cubicBezTo>
                    <a:pt x="200" y="661"/>
                    <a:pt x="199" y="678"/>
                    <a:pt x="197" y="680"/>
                  </a:cubicBezTo>
                  <a:cubicBezTo>
                    <a:pt x="197" y="681"/>
                    <a:pt x="70" y="666"/>
                    <a:pt x="70" y="666"/>
                  </a:cubicBezTo>
                  <a:cubicBezTo>
                    <a:pt x="65" y="665"/>
                    <a:pt x="52" y="677"/>
                    <a:pt x="47" y="679"/>
                  </a:cubicBezTo>
                  <a:lnTo>
                    <a:pt x="47" y="699"/>
                  </a:lnTo>
                  <a:lnTo>
                    <a:pt x="86" y="709"/>
                  </a:lnTo>
                  <a:cubicBezTo>
                    <a:pt x="86" y="709"/>
                    <a:pt x="14" y="730"/>
                    <a:pt x="0" y="734"/>
                  </a:cubicBezTo>
                  <a:lnTo>
                    <a:pt x="0" y="761"/>
                  </a:lnTo>
                  <a:lnTo>
                    <a:pt x="14" y="768"/>
                  </a:lnTo>
                  <a:lnTo>
                    <a:pt x="196" y="743"/>
                  </a:lnTo>
                  <a:cubicBezTo>
                    <a:pt x="196" y="743"/>
                    <a:pt x="198" y="742"/>
                    <a:pt x="199" y="742"/>
                  </a:cubicBezTo>
                  <a:cubicBezTo>
                    <a:pt x="202" y="742"/>
                    <a:pt x="205" y="745"/>
                    <a:pt x="205" y="745"/>
                  </a:cubicBezTo>
                  <a:lnTo>
                    <a:pt x="246" y="808"/>
                  </a:lnTo>
                  <a:lnTo>
                    <a:pt x="273" y="807"/>
                  </a:lnTo>
                  <a:cubicBezTo>
                    <a:pt x="273" y="807"/>
                    <a:pt x="276" y="793"/>
                    <a:pt x="275" y="787"/>
                  </a:cubicBezTo>
                  <a:cubicBezTo>
                    <a:pt x="270" y="772"/>
                    <a:pt x="255" y="740"/>
                    <a:pt x="255" y="740"/>
                  </a:cubicBezTo>
                  <a:lnTo>
                    <a:pt x="273" y="741"/>
                  </a:lnTo>
                  <a:lnTo>
                    <a:pt x="275" y="756"/>
                  </a:lnTo>
                  <a:cubicBezTo>
                    <a:pt x="275" y="756"/>
                    <a:pt x="279" y="760"/>
                    <a:pt x="281" y="760"/>
                  </a:cubicBezTo>
                  <a:cubicBezTo>
                    <a:pt x="281" y="761"/>
                    <a:pt x="284" y="762"/>
                    <a:pt x="284" y="762"/>
                  </a:cubicBezTo>
                  <a:cubicBezTo>
                    <a:pt x="284" y="762"/>
                    <a:pt x="288" y="763"/>
                    <a:pt x="288" y="764"/>
                  </a:cubicBezTo>
                  <a:cubicBezTo>
                    <a:pt x="291" y="764"/>
                    <a:pt x="293" y="766"/>
                    <a:pt x="293" y="766"/>
                  </a:cubicBezTo>
                  <a:cubicBezTo>
                    <a:pt x="293" y="766"/>
                    <a:pt x="294" y="781"/>
                    <a:pt x="294" y="785"/>
                  </a:cubicBezTo>
                  <a:cubicBezTo>
                    <a:pt x="295" y="791"/>
                    <a:pt x="296" y="797"/>
                    <a:pt x="295" y="803"/>
                  </a:cubicBezTo>
                  <a:cubicBezTo>
                    <a:pt x="293" y="808"/>
                    <a:pt x="289" y="812"/>
                    <a:pt x="288" y="818"/>
                  </a:cubicBezTo>
                  <a:cubicBezTo>
                    <a:pt x="287" y="822"/>
                    <a:pt x="287" y="826"/>
                    <a:pt x="287" y="831"/>
                  </a:cubicBezTo>
                  <a:cubicBezTo>
                    <a:pt x="287" y="836"/>
                    <a:pt x="286" y="841"/>
                    <a:pt x="287" y="846"/>
                  </a:cubicBezTo>
                  <a:cubicBezTo>
                    <a:pt x="287" y="851"/>
                    <a:pt x="288" y="856"/>
                    <a:pt x="290" y="860"/>
                  </a:cubicBezTo>
                  <a:cubicBezTo>
                    <a:pt x="292" y="863"/>
                    <a:pt x="293" y="865"/>
                    <a:pt x="295" y="866"/>
                  </a:cubicBezTo>
                  <a:cubicBezTo>
                    <a:pt x="297" y="867"/>
                    <a:pt x="311" y="871"/>
                    <a:pt x="316" y="867"/>
                  </a:cubicBezTo>
                  <a:cubicBezTo>
                    <a:pt x="318" y="866"/>
                    <a:pt x="318" y="870"/>
                    <a:pt x="319" y="870"/>
                  </a:cubicBezTo>
                  <a:cubicBezTo>
                    <a:pt x="321" y="872"/>
                    <a:pt x="323" y="877"/>
                    <a:pt x="325" y="880"/>
                  </a:cubicBezTo>
                  <a:cubicBezTo>
                    <a:pt x="328" y="884"/>
                    <a:pt x="331" y="888"/>
                    <a:pt x="334" y="892"/>
                  </a:cubicBezTo>
                  <a:cubicBezTo>
                    <a:pt x="337" y="895"/>
                    <a:pt x="341" y="896"/>
                    <a:pt x="344" y="898"/>
                  </a:cubicBezTo>
                  <a:cubicBezTo>
                    <a:pt x="354" y="904"/>
                    <a:pt x="368" y="901"/>
                    <a:pt x="379" y="901"/>
                  </a:cubicBezTo>
                  <a:cubicBezTo>
                    <a:pt x="383" y="901"/>
                    <a:pt x="385" y="899"/>
                    <a:pt x="389" y="898"/>
                  </a:cubicBezTo>
                  <a:cubicBezTo>
                    <a:pt x="391" y="895"/>
                    <a:pt x="393" y="894"/>
                    <a:pt x="394" y="890"/>
                  </a:cubicBezTo>
                  <a:cubicBezTo>
                    <a:pt x="395" y="881"/>
                    <a:pt x="391" y="871"/>
                    <a:pt x="386" y="864"/>
                  </a:cubicBezTo>
                  <a:cubicBezTo>
                    <a:pt x="383" y="859"/>
                    <a:pt x="378" y="857"/>
                    <a:pt x="375" y="852"/>
                  </a:cubicBezTo>
                  <a:cubicBezTo>
                    <a:pt x="368" y="843"/>
                    <a:pt x="362" y="833"/>
                    <a:pt x="354" y="823"/>
                  </a:cubicBezTo>
                  <a:cubicBezTo>
                    <a:pt x="342" y="808"/>
                    <a:pt x="338" y="797"/>
                    <a:pt x="339" y="777"/>
                  </a:cubicBezTo>
                  <a:cubicBezTo>
                    <a:pt x="339" y="775"/>
                    <a:pt x="338" y="766"/>
                    <a:pt x="340" y="764"/>
                  </a:cubicBezTo>
                  <a:cubicBezTo>
                    <a:pt x="342" y="762"/>
                    <a:pt x="345" y="761"/>
                    <a:pt x="348" y="760"/>
                  </a:cubicBezTo>
                  <a:cubicBezTo>
                    <a:pt x="349" y="760"/>
                    <a:pt x="350" y="759"/>
                    <a:pt x="350" y="758"/>
                  </a:cubicBezTo>
                  <a:cubicBezTo>
                    <a:pt x="350" y="759"/>
                    <a:pt x="352" y="756"/>
                    <a:pt x="352" y="756"/>
                  </a:cubicBezTo>
                  <a:cubicBezTo>
                    <a:pt x="352" y="752"/>
                    <a:pt x="352" y="747"/>
                    <a:pt x="352" y="743"/>
                  </a:cubicBezTo>
                  <a:lnTo>
                    <a:pt x="422" y="751"/>
                  </a:lnTo>
                  <a:cubicBezTo>
                    <a:pt x="422" y="751"/>
                    <a:pt x="435" y="745"/>
                    <a:pt x="436" y="745"/>
                  </a:cubicBezTo>
                  <a:lnTo>
                    <a:pt x="436" y="724"/>
                  </a:lnTo>
                  <a:cubicBezTo>
                    <a:pt x="435" y="724"/>
                    <a:pt x="435" y="721"/>
                    <a:pt x="433" y="722"/>
                  </a:cubicBezTo>
                  <a:cubicBezTo>
                    <a:pt x="432" y="722"/>
                    <a:pt x="353" y="703"/>
                    <a:pt x="352" y="702"/>
                  </a:cubicBezTo>
                  <a:cubicBezTo>
                    <a:pt x="352" y="702"/>
                    <a:pt x="355" y="630"/>
                    <a:pt x="355" y="617"/>
                  </a:cubicBezTo>
                  <a:cubicBezTo>
                    <a:pt x="362" y="619"/>
                    <a:pt x="375" y="613"/>
                    <a:pt x="376" y="622"/>
                  </a:cubicBezTo>
                  <a:cubicBezTo>
                    <a:pt x="377" y="626"/>
                    <a:pt x="397" y="652"/>
                    <a:pt x="400" y="655"/>
                  </a:cubicBezTo>
                  <a:cubicBezTo>
                    <a:pt x="401" y="655"/>
                    <a:pt x="414" y="650"/>
                    <a:pt x="419" y="648"/>
                  </a:cubicBezTo>
                  <a:lnTo>
                    <a:pt x="421" y="650"/>
                  </a:lnTo>
                  <a:cubicBezTo>
                    <a:pt x="422" y="651"/>
                    <a:pt x="424" y="656"/>
                    <a:pt x="425" y="657"/>
                  </a:cubicBezTo>
                  <a:cubicBezTo>
                    <a:pt x="430" y="664"/>
                    <a:pt x="435" y="671"/>
                    <a:pt x="437" y="680"/>
                  </a:cubicBezTo>
                  <a:cubicBezTo>
                    <a:pt x="438" y="684"/>
                    <a:pt x="442" y="687"/>
                    <a:pt x="444" y="691"/>
                  </a:cubicBezTo>
                  <a:cubicBezTo>
                    <a:pt x="450" y="703"/>
                    <a:pt x="445" y="722"/>
                    <a:pt x="448" y="734"/>
                  </a:cubicBezTo>
                  <a:cubicBezTo>
                    <a:pt x="449" y="740"/>
                    <a:pt x="451" y="745"/>
                    <a:pt x="453" y="751"/>
                  </a:cubicBezTo>
                  <a:cubicBezTo>
                    <a:pt x="454" y="752"/>
                    <a:pt x="454" y="754"/>
                    <a:pt x="454" y="755"/>
                  </a:cubicBezTo>
                  <a:cubicBezTo>
                    <a:pt x="455" y="756"/>
                    <a:pt x="458" y="757"/>
                    <a:pt x="459" y="759"/>
                  </a:cubicBezTo>
                  <a:cubicBezTo>
                    <a:pt x="463" y="764"/>
                    <a:pt x="468" y="764"/>
                    <a:pt x="474" y="765"/>
                  </a:cubicBezTo>
                  <a:cubicBezTo>
                    <a:pt x="477" y="767"/>
                    <a:pt x="481" y="768"/>
                    <a:pt x="484" y="767"/>
                  </a:cubicBezTo>
                  <a:cubicBezTo>
                    <a:pt x="485" y="766"/>
                    <a:pt x="493" y="759"/>
                    <a:pt x="494" y="759"/>
                  </a:cubicBezTo>
                  <a:cubicBezTo>
                    <a:pt x="494" y="759"/>
                    <a:pt x="506" y="763"/>
                    <a:pt x="508" y="764"/>
                  </a:cubicBezTo>
                  <a:cubicBezTo>
                    <a:pt x="511" y="764"/>
                    <a:pt x="515" y="765"/>
                    <a:pt x="519" y="765"/>
                  </a:cubicBezTo>
                  <a:cubicBezTo>
                    <a:pt x="543" y="766"/>
                    <a:pt x="562" y="754"/>
                    <a:pt x="581" y="741"/>
                  </a:cubicBezTo>
                  <a:cubicBezTo>
                    <a:pt x="583" y="739"/>
                    <a:pt x="585" y="738"/>
                    <a:pt x="587" y="736"/>
                  </a:cubicBezTo>
                  <a:cubicBezTo>
                    <a:pt x="587" y="735"/>
                    <a:pt x="588" y="734"/>
                    <a:pt x="589" y="733"/>
                  </a:cubicBezTo>
                  <a:cubicBezTo>
                    <a:pt x="589" y="732"/>
                    <a:pt x="591" y="731"/>
                    <a:pt x="591" y="730"/>
                  </a:cubicBezTo>
                  <a:cubicBezTo>
                    <a:pt x="592" y="727"/>
                    <a:pt x="592" y="725"/>
                    <a:pt x="590" y="723"/>
                  </a:cubicBezTo>
                  <a:cubicBezTo>
                    <a:pt x="589" y="721"/>
                    <a:pt x="587" y="717"/>
                    <a:pt x="585" y="716"/>
                  </a:cubicBezTo>
                  <a:cubicBezTo>
                    <a:pt x="577" y="709"/>
                    <a:pt x="558" y="711"/>
                    <a:pt x="548" y="707"/>
                  </a:cubicBezTo>
                  <a:cubicBezTo>
                    <a:pt x="536" y="704"/>
                    <a:pt x="525" y="698"/>
                    <a:pt x="515" y="691"/>
                  </a:cubicBezTo>
                  <a:cubicBezTo>
                    <a:pt x="495" y="677"/>
                    <a:pt x="479" y="657"/>
                    <a:pt x="464" y="639"/>
                  </a:cubicBezTo>
                  <a:cubicBezTo>
                    <a:pt x="460" y="634"/>
                    <a:pt x="455" y="629"/>
                    <a:pt x="452" y="623"/>
                  </a:cubicBezTo>
                  <a:cubicBezTo>
                    <a:pt x="450" y="620"/>
                    <a:pt x="450" y="617"/>
                    <a:pt x="450" y="617"/>
                  </a:cubicBezTo>
                  <a:cubicBezTo>
                    <a:pt x="450" y="617"/>
                    <a:pt x="455" y="609"/>
                    <a:pt x="458" y="603"/>
                  </a:cubicBezTo>
                  <a:cubicBezTo>
                    <a:pt x="461" y="597"/>
                    <a:pt x="464" y="591"/>
                    <a:pt x="466" y="585"/>
                  </a:cubicBezTo>
                  <a:cubicBezTo>
                    <a:pt x="466" y="584"/>
                    <a:pt x="468" y="575"/>
                    <a:pt x="469" y="575"/>
                  </a:cubicBezTo>
                  <a:cubicBezTo>
                    <a:pt x="468" y="574"/>
                    <a:pt x="382" y="468"/>
                    <a:pt x="382" y="468"/>
                  </a:cubicBezTo>
                  <a:cubicBezTo>
                    <a:pt x="382" y="468"/>
                    <a:pt x="386" y="416"/>
                    <a:pt x="387" y="415"/>
                  </a:cubicBezTo>
                  <a:cubicBezTo>
                    <a:pt x="398" y="415"/>
                    <a:pt x="420" y="414"/>
                    <a:pt x="421" y="413"/>
                  </a:cubicBezTo>
                  <a:cubicBezTo>
                    <a:pt x="421" y="413"/>
                    <a:pt x="420" y="383"/>
                    <a:pt x="419" y="380"/>
                  </a:cubicBezTo>
                  <a:lnTo>
                    <a:pt x="370" y="380"/>
                  </a:lnTo>
                  <a:cubicBezTo>
                    <a:pt x="372" y="377"/>
                    <a:pt x="372" y="374"/>
                    <a:pt x="373" y="371"/>
                  </a:cubicBezTo>
                  <a:cubicBezTo>
                    <a:pt x="375" y="369"/>
                    <a:pt x="377" y="366"/>
                    <a:pt x="378" y="363"/>
                  </a:cubicBezTo>
                  <a:cubicBezTo>
                    <a:pt x="378" y="362"/>
                    <a:pt x="377" y="359"/>
                    <a:pt x="377" y="358"/>
                  </a:cubicBezTo>
                  <a:cubicBezTo>
                    <a:pt x="377" y="347"/>
                    <a:pt x="373" y="338"/>
                    <a:pt x="370" y="327"/>
                  </a:cubicBezTo>
                  <a:cubicBezTo>
                    <a:pt x="369" y="323"/>
                    <a:pt x="365" y="317"/>
                    <a:pt x="362" y="315"/>
                  </a:cubicBezTo>
                  <a:cubicBezTo>
                    <a:pt x="360" y="313"/>
                    <a:pt x="357" y="312"/>
                    <a:pt x="356" y="310"/>
                  </a:cubicBezTo>
                  <a:cubicBezTo>
                    <a:pt x="351" y="302"/>
                    <a:pt x="350" y="292"/>
                    <a:pt x="346" y="284"/>
                  </a:cubicBezTo>
                  <a:cubicBezTo>
                    <a:pt x="342" y="276"/>
                    <a:pt x="336" y="268"/>
                    <a:pt x="330" y="262"/>
                  </a:cubicBezTo>
                  <a:cubicBezTo>
                    <a:pt x="328" y="260"/>
                    <a:pt x="327" y="256"/>
                    <a:pt x="325" y="254"/>
                  </a:cubicBezTo>
                  <a:cubicBezTo>
                    <a:pt x="323" y="251"/>
                    <a:pt x="321" y="247"/>
                    <a:pt x="321" y="247"/>
                  </a:cubicBezTo>
                  <a:cubicBezTo>
                    <a:pt x="321" y="247"/>
                    <a:pt x="325" y="186"/>
                    <a:pt x="323" y="186"/>
                  </a:cubicBezTo>
                  <a:lnTo>
                    <a:pt x="291" y="186"/>
                  </a:lnTo>
                  <a:lnTo>
                    <a:pt x="286" y="181"/>
                  </a:lnTo>
                  <a:cubicBezTo>
                    <a:pt x="286" y="180"/>
                    <a:pt x="283" y="179"/>
                    <a:pt x="282" y="178"/>
                  </a:cubicBezTo>
                  <a:cubicBezTo>
                    <a:pt x="280" y="177"/>
                    <a:pt x="279" y="177"/>
                    <a:pt x="277" y="176"/>
                  </a:cubicBezTo>
                  <a:cubicBezTo>
                    <a:pt x="257" y="172"/>
                    <a:pt x="237" y="168"/>
                    <a:pt x="217" y="164"/>
                  </a:cubicBezTo>
                  <a:cubicBezTo>
                    <a:pt x="216" y="164"/>
                    <a:pt x="210" y="161"/>
                    <a:pt x="211" y="159"/>
                  </a:cubicBezTo>
                  <a:cubicBezTo>
                    <a:pt x="211" y="157"/>
                    <a:pt x="210" y="155"/>
                    <a:pt x="211" y="153"/>
                  </a:cubicBezTo>
                  <a:cubicBezTo>
                    <a:pt x="211" y="153"/>
                    <a:pt x="212" y="150"/>
                    <a:pt x="212" y="149"/>
                  </a:cubicBezTo>
                  <a:cubicBezTo>
                    <a:pt x="213" y="148"/>
                    <a:pt x="214" y="146"/>
                    <a:pt x="214" y="145"/>
                  </a:cubicBezTo>
                  <a:cubicBezTo>
                    <a:pt x="215" y="143"/>
                    <a:pt x="216" y="142"/>
                    <a:pt x="218" y="140"/>
                  </a:cubicBezTo>
                  <a:cubicBezTo>
                    <a:pt x="219" y="138"/>
                    <a:pt x="220" y="137"/>
                    <a:pt x="221" y="135"/>
                  </a:cubicBezTo>
                  <a:cubicBezTo>
                    <a:pt x="223" y="133"/>
                    <a:pt x="223" y="131"/>
                    <a:pt x="224" y="129"/>
                  </a:cubicBezTo>
                  <a:cubicBezTo>
                    <a:pt x="228" y="123"/>
                    <a:pt x="231" y="116"/>
                    <a:pt x="232" y="109"/>
                  </a:cubicBezTo>
                  <a:cubicBezTo>
                    <a:pt x="232" y="107"/>
                    <a:pt x="232" y="106"/>
                    <a:pt x="232" y="104"/>
                  </a:cubicBezTo>
                  <a:cubicBezTo>
                    <a:pt x="232" y="102"/>
                    <a:pt x="232" y="100"/>
                    <a:pt x="232" y="98"/>
                  </a:cubicBezTo>
                  <a:cubicBezTo>
                    <a:pt x="232" y="96"/>
                    <a:pt x="238" y="96"/>
                    <a:pt x="239" y="95"/>
                  </a:cubicBezTo>
                  <a:cubicBezTo>
                    <a:pt x="240" y="92"/>
                    <a:pt x="239" y="88"/>
                    <a:pt x="239" y="85"/>
                  </a:cubicBezTo>
                  <a:cubicBezTo>
                    <a:pt x="239" y="82"/>
                    <a:pt x="239" y="79"/>
                    <a:pt x="238" y="76"/>
                  </a:cubicBezTo>
                  <a:cubicBezTo>
                    <a:pt x="237" y="75"/>
                    <a:pt x="237" y="73"/>
                    <a:pt x="235" y="74"/>
                  </a:cubicBezTo>
                  <a:cubicBezTo>
                    <a:pt x="230" y="64"/>
                    <a:pt x="240" y="63"/>
                    <a:pt x="242" y="57"/>
                  </a:cubicBezTo>
                  <a:cubicBezTo>
                    <a:pt x="242" y="55"/>
                    <a:pt x="244" y="55"/>
                    <a:pt x="244" y="52"/>
                  </a:cubicBezTo>
                  <a:cubicBezTo>
                    <a:pt x="245" y="51"/>
                    <a:pt x="244" y="48"/>
                    <a:pt x="244" y="46"/>
                  </a:cubicBezTo>
                  <a:cubicBezTo>
                    <a:pt x="244" y="43"/>
                    <a:pt x="244" y="39"/>
                    <a:pt x="244" y="36"/>
                  </a:cubicBezTo>
                  <a:cubicBezTo>
                    <a:pt x="244" y="34"/>
                    <a:pt x="243" y="32"/>
                    <a:pt x="242" y="31"/>
                  </a:cubicBezTo>
                  <a:cubicBezTo>
                    <a:pt x="240" y="28"/>
                    <a:pt x="233" y="23"/>
                    <a:pt x="234" y="18"/>
                  </a:cubicBezTo>
                  <a:cubicBezTo>
                    <a:pt x="232" y="18"/>
                    <a:pt x="232" y="17"/>
                    <a:pt x="231" y="16"/>
                  </a:cubicBezTo>
                  <a:cubicBezTo>
                    <a:pt x="231" y="15"/>
                    <a:pt x="228" y="13"/>
                    <a:pt x="228" y="13"/>
                  </a:cubicBezTo>
                  <a:cubicBezTo>
                    <a:pt x="227" y="10"/>
                    <a:pt x="220" y="11"/>
                    <a:pt x="218" y="11"/>
                  </a:cubicBezTo>
                  <a:cubicBezTo>
                    <a:pt x="214" y="9"/>
                    <a:pt x="212" y="6"/>
                    <a:pt x="209" y="4"/>
                  </a:cubicBezTo>
                  <a:cubicBezTo>
                    <a:pt x="207" y="3"/>
                    <a:pt x="205" y="1"/>
                    <a:pt x="203" y="1"/>
                  </a:cubicBezTo>
                  <a:cubicBezTo>
                    <a:pt x="203" y="1"/>
                    <a:pt x="202" y="1"/>
                    <a:pt x="202" y="0"/>
                  </a:cubicBezTo>
                  <a:lnTo>
                    <a:pt x="183" y="0"/>
                  </a:lnTo>
                  <a:cubicBezTo>
                    <a:pt x="178" y="2"/>
                    <a:pt x="172" y="4"/>
                    <a:pt x="167" y="6"/>
                  </a:cubicBezTo>
                  <a:cubicBezTo>
                    <a:pt x="165" y="7"/>
                    <a:pt x="164" y="9"/>
                    <a:pt x="163" y="11"/>
                  </a:cubicBezTo>
                  <a:close/>
                  <a:moveTo>
                    <a:pt x="227" y="645"/>
                  </a:moveTo>
                  <a:cubicBezTo>
                    <a:pt x="233" y="645"/>
                    <a:pt x="253" y="645"/>
                    <a:pt x="253" y="645"/>
                  </a:cubicBezTo>
                  <a:lnTo>
                    <a:pt x="258" y="620"/>
                  </a:lnTo>
                  <a:lnTo>
                    <a:pt x="269" y="619"/>
                  </a:lnTo>
                  <a:lnTo>
                    <a:pt x="272" y="665"/>
                  </a:lnTo>
                  <a:lnTo>
                    <a:pt x="237" y="678"/>
                  </a:lnTo>
                  <a:lnTo>
                    <a:pt x="235" y="661"/>
                  </a:lnTo>
                  <a:lnTo>
                    <a:pt x="227" y="661"/>
                  </a:lnTo>
                  <a:lnTo>
                    <a:pt x="227" y="645"/>
                  </a:lnTo>
                  <a:close/>
                  <a:moveTo>
                    <a:pt x="234" y="80"/>
                  </a:moveTo>
                  <a:lnTo>
                    <a:pt x="234" y="90"/>
                  </a:lnTo>
                  <a:lnTo>
                    <a:pt x="231" y="90"/>
                  </a:lnTo>
                  <a:lnTo>
                    <a:pt x="231" y="83"/>
                  </a:lnTo>
                  <a:cubicBezTo>
                    <a:pt x="231" y="80"/>
                    <a:pt x="230" y="79"/>
                    <a:pt x="234" y="8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9069388" y="4899025"/>
              <a:ext cx="766763" cy="330200"/>
            </a:xfrm>
            <a:custGeom>
              <a:avLst/>
              <a:gdLst>
                <a:gd name="T0" fmla="*/ 1136 w 2101"/>
                <a:gd name="T1" fmla="*/ 435 h 902"/>
                <a:gd name="T2" fmla="*/ 878 w 2101"/>
                <a:gd name="T3" fmla="*/ 735 h 902"/>
                <a:gd name="T4" fmla="*/ 1348 w 2101"/>
                <a:gd name="T5" fmla="*/ 426 h 902"/>
                <a:gd name="T6" fmla="*/ 1907 w 2101"/>
                <a:gd name="T7" fmla="*/ 736 h 902"/>
                <a:gd name="T8" fmla="*/ 1628 w 2101"/>
                <a:gd name="T9" fmla="*/ 522 h 902"/>
                <a:gd name="T10" fmla="*/ 204 w 2101"/>
                <a:gd name="T11" fmla="*/ 738 h 902"/>
                <a:gd name="T12" fmla="*/ 351 w 2101"/>
                <a:gd name="T13" fmla="*/ 549 h 902"/>
                <a:gd name="T14" fmla="*/ 801 w 2101"/>
                <a:gd name="T15" fmla="*/ 735 h 902"/>
                <a:gd name="T16" fmla="*/ 0 w 2101"/>
                <a:gd name="T17" fmla="*/ 278 h 902"/>
                <a:gd name="T18" fmla="*/ 337 w 2101"/>
                <a:gd name="T19" fmla="*/ 607 h 902"/>
                <a:gd name="T20" fmla="*/ 1348 w 2101"/>
                <a:gd name="T21" fmla="*/ 686 h 902"/>
                <a:gd name="T22" fmla="*/ 1334 w 2101"/>
                <a:gd name="T23" fmla="*/ 157 h 902"/>
                <a:gd name="T24" fmla="*/ 1383 w 2101"/>
                <a:gd name="T25" fmla="*/ 79 h 902"/>
                <a:gd name="T26" fmla="*/ 1128 w 2101"/>
                <a:gd name="T27" fmla="*/ 101 h 902"/>
                <a:gd name="T28" fmla="*/ 1128 w 2101"/>
                <a:gd name="T29" fmla="*/ 101 h 902"/>
                <a:gd name="T30" fmla="*/ 1116 w 2101"/>
                <a:gd name="T31" fmla="*/ 56 h 902"/>
                <a:gd name="T32" fmla="*/ 1253 w 2101"/>
                <a:gd name="T33" fmla="*/ 80 h 902"/>
                <a:gd name="T34" fmla="*/ 1225 w 2101"/>
                <a:gd name="T35" fmla="*/ 180 h 902"/>
                <a:gd name="T36" fmla="*/ 984 w 2101"/>
                <a:gd name="T37" fmla="*/ 157 h 902"/>
                <a:gd name="T38" fmla="*/ 1064 w 2101"/>
                <a:gd name="T39" fmla="*/ 212 h 902"/>
                <a:gd name="T40" fmla="*/ 967 w 2101"/>
                <a:gd name="T41" fmla="*/ 131 h 902"/>
                <a:gd name="T42" fmla="*/ 505 w 2101"/>
                <a:gd name="T43" fmla="*/ 181 h 902"/>
                <a:gd name="T44" fmla="*/ 492 w 2101"/>
                <a:gd name="T45" fmla="*/ 112 h 902"/>
                <a:gd name="T46" fmla="*/ 497 w 2101"/>
                <a:gd name="T47" fmla="*/ 32 h 902"/>
                <a:gd name="T48" fmla="*/ 547 w 2101"/>
                <a:gd name="T49" fmla="*/ 12 h 902"/>
                <a:gd name="T50" fmla="*/ 563 w 2101"/>
                <a:gd name="T51" fmla="*/ 112 h 902"/>
                <a:gd name="T52" fmla="*/ 563 w 2101"/>
                <a:gd name="T53" fmla="*/ 225 h 902"/>
                <a:gd name="T54" fmla="*/ 492 w 2101"/>
                <a:gd name="T55" fmla="*/ 201 h 902"/>
                <a:gd name="T56" fmla="*/ 614 w 2101"/>
                <a:gd name="T57" fmla="*/ 194 h 902"/>
                <a:gd name="T58" fmla="*/ 622 w 2101"/>
                <a:gd name="T59" fmla="*/ 176 h 902"/>
                <a:gd name="T60" fmla="*/ 573 w 2101"/>
                <a:gd name="T61" fmla="*/ 112 h 902"/>
                <a:gd name="T62" fmla="*/ 573 w 2101"/>
                <a:gd name="T63" fmla="*/ 54 h 902"/>
                <a:gd name="T64" fmla="*/ 643 w 2101"/>
                <a:gd name="T65" fmla="*/ 33 h 902"/>
                <a:gd name="T66" fmla="*/ 655 w 2101"/>
                <a:gd name="T67" fmla="*/ 192 h 902"/>
                <a:gd name="T68" fmla="*/ 628 w 2101"/>
                <a:gd name="T69" fmla="*/ 190 h 902"/>
                <a:gd name="T70" fmla="*/ 573 w 2101"/>
                <a:gd name="T71" fmla="*/ 236 h 902"/>
                <a:gd name="T72" fmla="*/ 797 w 2101"/>
                <a:gd name="T73" fmla="*/ 91 h 902"/>
                <a:gd name="T74" fmla="*/ 792 w 2101"/>
                <a:gd name="T75" fmla="*/ 56 h 902"/>
                <a:gd name="T76" fmla="*/ 719 w 2101"/>
                <a:gd name="T77" fmla="*/ 56 h 902"/>
                <a:gd name="T78" fmla="*/ 843 w 2101"/>
                <a:gd name="T79" fmla="*/ 174 h 902"/>
                <a:gd name="T80" fmla="*/ 884 w 2101"/>
                <a:gd name="T81" fmla="*/ 54 h 902"/>
                <a:gd name="T82" fmla="*/ 864 w 2101"/>
                <a:gd name="T83" fmla="*/ 106 h 902"/>
                <a:gd name="T84" fmla="*/ 1910 w 2101"/>
                <a:gd name="T85" fmla="*/ 125 h 902"/>
                <a:gd name="T86" fmla="*/ 1912 w 2101"/>
                <a:gd name="T87" fmla="*/ 76 h 902"/>
                <a:gd name="T88" fmla="*/ 1965 w 2101"/>
                <a:gd name="T89" fmla="*/ 144 h 902"/>
                <a:gd name="T90" fmla="*/ 1873 w 2101"/>
                <a:gd name="T91" fmla="*/ 58 h 902"/>
                <a:gd name="T92" fmla="*/ 1819 w 2101"/>
                <a:gd name="T93" fmla="*/ 80 h 902"/>
                <a:gd name="T94" fmla="*/ 1791 w 2101"/>
                <a:gd name="T95" fmla="*/ 180 h 902"/>
                <a:gd name="T96" fmla="*/ 2040 w 2101"/>
                <a:gd name="T97" fmla="*/ 182 h 902"/>
                <a:gd name="T98" fmla="*/ 1573 w 2101"/>
                <a:gd name="T99" fmla="*/ 120 h 902"/>
                <a:gd name="T100" fmla="*/ 1627 w 2101"/>
                <a:gd name="T101" fmla="*/ 139 h 902"/>
                <a:gd name="T102" fmla="*/ 1565 w 2101"/>
                <a:gd name="T103" fmla="*/ 181 h 902"/>
                <a:gd name="T104" fmla="*/ 1673 w 2101"/>
                <a:gd name="T105" fmla="*/ 118 h 902"/>
                <a:gd name="T106" fmla="*/ 1709 w 2101"/>
                <a:gd name="T107" fmla="*/ 182 h 902"/>
                <a:gd name="T108" fmla="*/ 1506 w 2101"/>
                <a:gd name="T109" fmla="*/ 180 h 902"/>
                <a:gd name="T110" fmla="*/ 1402 w 2101"/>
                <a:gd name="T111" fmla="*/ 18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01" h="902">
                  <a:moveTo>
                    <a:pt x="878" y="435"/>
                  </a:moveTo>
                  <a:lnTo>
                    <a:pt x="951" y="435"/>
                  </a:lnTo>
                  <a:lnTo>
                    <a:pt x="951" y="548"/>
                  </a:lnTo>
                  <a:lnTo>
                    <a:pt x="1063" y="548"/>
                  </a:lnTo>
                  <a:lnTo>
                    <a:pt x="1063" y="435"/>
                  </a:lnTo>
                  <a:lnTo>
                    <a:pt x="1136" y="435"/>
                  </a:lnTo>
                  <a:lnTo>
                    <a:pt x="1136" y="735"/>
                  </a:lnTo>
                  <a:lnTo>
                    <a:pt x="1063" y="735"/>
                  </a:lnTo>
                  <a:lnTo>
                    <a:pt x="1063" y="606"/>
                  </a:lnTo>
                  <a:lnTo>
                    <a:pt x="951" y="606"/>
                  </a:lnTo>
                  <a:lnTo>
                    <a:pt x="951" y="735"/>
                  </a:lnTo>
                  <a:lnTo>
                    <a:pt x="878" y="735"/>
                  </a:lnTo>
                  <a:lnTo>
                    <a:pt x="878" y="435"/>
                  </a:lnTo>
                  <a:close/>
                  <a:moveTo>
                    <a:pt x="1348" y="426"/>
                  </a:moveTo>
                  <a:cubicBezTo>
                    <a:pt x="1454" y="426"/>
                    <a:pt x="1504" y="494"/>
                    <a:pt x="1504" y="585"/>
                  </a:cubicBezTo>
                  <a:cubicBezTo>
                    <a:pt x="1504" y="676"/>
                    <a:pt x="1454" y="744"/>
                    <a:pt x="1348" y="744"/>
                  </a:cubicBezTo>
                  <a:cubicBezTo>
                    <a:pt x="1226" y="744"/>
                    <a:pt x="1191" y="655"/>
                    <a:pt x="1191" y="585"/>
                  </a:cubicBezTo>
                  <a:cubicBezTo>
                    <a:pt x="1191" y="515"/>
                    <a:pt x="1226" y="426"/>
                    <a:pt x="1348" y="426"/>
                  </a:cubicBezTo>
                  <a:close/>
                  <a:moveTo>
                    <a:pt x="1554" y="436"/>
                  </a:moveTo>
                  <a:lnTo>
                    <a:pt x="1657" y="436"/>
                  </a:lnTo>
                  <a:lnTo>
                    <a:pt x="1731" y="642"/>
                  </a:lnTo>
                  <a:lnTo>
                    <a:pt x="1804" y="436"/>
                  </a:lnTo>
                  <a:lnTo>
                    <a:pt x="1907" y="436"/>
                  </a:lnTo>
                  <a:lnTo>
                    <a:pt x="1907" y="736"/>
                  </a:lnTo>
                  <a:lnTo>
                    <a:pt x="1834" y="736"/>
                  </a:lnTo>
                  <a:lnTo>
                    <a:pt x="1834" y="522"/>
                  </a:lnTo>
                  <a:lnTo>
                    <a:pt x="1833" y="522"/>
                  </a:lnTo>
                  <a:lnTo>
                    <a:pt x="1756" y="736"/>
                  </a:lnTo>
                  <a:lnTo>
                    <a:pt x="1706" y="736"/>
                  </a:lnTo>
                  <a:lnTo>
                    <a:pt x="1628" y="522"/>
                  </a:lnTo>
                  <a:lnTo>
                    <a:pt x="1627" y="522"/>
                  </a:lnTo>
                  <a:lnTo>
                    <a:pt x="1627" y="736"/>
                  </a:lnTo>
                  <a:lnTo>
                    <a:pt x="1554" y="736"/>
                  </a:lnTo>
                  <a:lnTo>
                    <a:pt x="1554" y="436"/>
                  </a:lnTo>
                  <a:close/>
                  <a:moveTo>
                    <a:pt x="351" y="738"/>
                  </a:moveTo>
                  <a:lnTo>
                    <a:pt x="204" y="738"/>
                  </a:lnTo>
                  <a:lnTo>
                    <a:pt x="204" y="437"/>
                  </a:lnTo>
                  <a:lnTo>
                    <a:pt x="444" y="437"/>
                  </a:lnTo>
                  <a:lnTo>
                    <a:pt x="444" y="496"/>
                  </a:lnTo>
                  <a:lnTo>
                    <a:pt x="277" y="496"/>
                  </a:lnTo>
                  <a:lnTo>
                    <a:pt x="277" y="549"/>
                  </a:lnTo>
                  <a:lnTo>
                    <a:pt x="351" y="549"/>
                  </a:lnTo>
                  <a:cubicBezTo>
                    <a:pt x="377" y="549"/>
                    <a:pt x="469" y="551"/>
                    <a:pt x="469" y="647"/>
                  </a:cubicBezTo>
                  <a:cubicBezTo>
                    <a:pt x="469" y="708"/>
                    <a:pt x="423" y="738"/>
                    <a:pt x="351" y="738"/>
                  </a:cubicBezTo>
                  <a:close/>
                  <a:moveTo>
                    <a:pt x="605" y="628"/>
                  </a:moveTo>
                  <a:lnTo>
                    <a:pt x="728" y="434"/>
                  </a:lnTo>
                  <a:lnTo>
                    <a:pt x="801" y="434"/>
                  </a:lnTo>
                  <a:lnTo>
                    <a:pt x="801" y="735"/>
                  </a:lnTo>
                  <a:lnTo>
                    <a:pt x="728" y="735"/>
                  </a:lnTo>
                  <a:lnTo>
                    <a:pt x="728" y="538"/>
                  </a:lnTo>
                  <a:lnTo>
                    <a:pt x="605" y="735"/>
                  </a:lnTo>
                  <a:lnTo>
                    <a:pt x="532" y="735"/>
                  </a:lnTo>
                  <a:lnTo>
                    <a:pt x="532" y="278"/>
                  </a:lnTo>
                  <a:lnTo>
                    <a:pt x="0" y="278"/>
                  </a:lnTo>
                  <a:lnTo>
                    <a:pt x="0" y="902"/>
                  </a:lnTo>
                  <a:lnTo>
                    <a:pt x="2098" y="902"/>
                  </a:lnTo>
                  <a:lnTo>
                    <a:pt x="2098" y="278"/>
                  </a:lnTo>
                  <a:lnTo>
                    <a:pt x="605" y="278"/>
                  </a:lnTo>
                  <a:lnTo>
                    <a:pt x="605" y="628"/>
                  </a:lnTo>
                  <a:close/>
                  <a:moveTo>
                    <a:pt x="337" y="607"/>
                  </a:moveTo>
                  <a:lnTo>
                    <a:pt x="277" y="607"/>
                  </a:lnTo>
                  <a:lnTo>
                    <a:pt x="277" y="679"/>
                  </a:lnTo>
                  <a:lnTo>
                    <a:pt x="336" y="679"/>
                  </a:lnTo>
                  <a:cubicBezTo>
                    <a:pt x="364" y="679"/>
                    <a:pt x="390" y="674"/>
                    <a:pt x="390" y="645"/>
                  </a:cubicBezTo>
                  <a:cubicBezTo>
                    <a:pt x="390" y="609"/>
                    <a:pt x="355" y="607"/>
                    <a:pt x="337" y="607"/>
                  </a:cubicBezTo>
                  <a:close/>
                  <a:moveTo>
                    <a:pt x="1348" y="686"/>
                  </a:moveTo>
                  <a:cubicBezTo>
                    <a:pt x="1422" y="686"/>
                    <a:pt x="1426" y="610"/>
                    <a:pt x="1426" y="585"/>
                  </a:cubicBezTo>
                  <a:cubicBezTo>
                    <a:pt x="1426" y="558"/>
                    <a:pt x="1422" y="485"/>
                    <a:pt x="1348" y="485"/>
                  </a:cubicBezTo>
                  <a:cubicBezTo>
                    <a:pt x="1308" y="485"/>
                    <a:pt x="1271" y="506"/>
                    <a:pt x="1271" y="585"/>
                  </a:cubicBezTo>
                  <a:cubicBezTo>
                    <a:pt x="1271" y="664"/>
                    <a:pt x="1308" y="686"/>
                    <a:pt x="1348" y="686"/>
                  </a:cubicBezTo>
                  <a:close/>
                  <a:moveTo>
                    <a:pt x="1385" y="157"/>
                  </a:moveTo>
                  <a:lnTo>
                    <a:pt x="1334" y="157"/>
                  </a:lnTo>
                  <a:lnTo>
                    <a:pt x="1334" y="128"/>
                  </a:lnTo>
                  <a:lnTo>
                    <a:pt x="1380" y="128"/>
                  </a:lnTo>
                  <a:lnTo>
                    <a:pt x="1380" y="105"/>
                  </a:lnTo>
                  <a:lnTo>
                    <a:pt x="1334" y="105"/>
                  </a:lnTo>
                  <a:lnTo>
                    <a:pt x="1334" y="79"/>
                  </a:lnTo>
                  <a:lnTo>
                    <a:pt x="1383" y="79"/>
                  </a:lnTo>
                  <a:lnTo>
                    <a:pt x="1383" y="56"/>
                  </a:lnTo>
                  <a:lnTo>
                    <a:pt x="1306" y="56"/>
                  </a:lnTo>
                  <a:lnTo>
                    <a:pt x="1306" y="180"/>
                  </a:lnTo>
                  <a:lnTo>
                    <a:pt x="1385" y="180"/>
                  </a:lnTo>
                  <a:lnTo>
                    <a:pt x="1385" y="157"/>
                  </a:lnTo>
                  <a:close/>
                  <a:moveTo>
                    <a:pt x="1128" y="101"/>
                  </a:moveTo>
                  <a:cubicBezTo>
                    <a:pt x="1130" y="94"/>
                    <a:pt x="1132" y="85"/>
                    <a:pt x="1133" y="77"/>
                  </a:cubicBezTo>
                  <a:lnTo>
                    <a:pt x="1134" y="77"/>
                  </a:lnTo>
                  <a:cubicBezTo>
                    <a:pt x="1136" y="85"/>
                    <a:pt x="1138" y="94"/>
                    <a:pt x="1140" y="101"/>
                  </a:cubicBezTo>
                  <a:lnTo>
                    <a:pt x="1148" y="127"/>
                  </a:lnTo>
                  <a:lnTo>
                    <a:pt x="1120" y="127"/>
                  </a:lnTo>
                  <a:lnTo>
                    <a:pt x="1128" y="101"/>
                  </a:lnTo>
                  <a:close/>
                  <a:moveTo>
                    <a:pt x="1116" y="148"/>
                  </a:moveTo>
                  <a:lnTo>
                    <a:pt x="1152" y="148"/>
                  </a:lnTo>
                  <a:lnTo>
                    <a:pt x="1161" y="180"/>
                  </a:lnTo>
                  <a:lnTo>
                    <a:pt x="1192" y="180"/>
                  </a:lnTo>
                  <a:lnTo>
                    <a:pt x="1153" y="56"/>
                  </a:lnTo>
                  <a:lnTo>
                    <a:pt x="1116" y="56"/>
                  </a:lnTo>
                  <a:lnTo>
                    <a:pt x="1079" y="180"/>
                  </a:lnTo>
                  <a:lnTo>
                    <a:pt x="1108" y="180"/>
                  </a:lnTo>
                  <a:lnTo>
                    <a:pt x="1116" y="148"/>
                  </a:lnTo>
                  <a:close/>
                  <a:moveTo>
                    <a:pt x="1225" y="180"/>
                  </a:moveTo>
                  <a:lnTo>
                    <a:pt x="1253" y="180"/>
                  </a:lnTo>
                  <a:lnTo>
                    <a:pt x="1253" y="80"/>
                  </a:lnTo>
                  <a:lnTo>
                    <a:pt x="1287" y="80"/>
                  </a:lnTo>
                  <a:lnTo>
                    <a:pt x="1287" y="56"/>
                  </a:lnTo>
                  <a:lnTo>
                    <a:pt x="1191" y="56"/>
                  </a:lnTo>
                  <a:lnTo>
                    <a:pt x="1191" y="80"/>
                  </a:lnTo>
                  <a:lnTo>
                    <a:pt x="1225" y="80"/>
                  </a:lnTo>
                  <a:lnTo>
                    <a:pt x="1225" y="180"/>
                  </a:lnTo>
                  <a:close/>
                  <a:moveTo>
                    <a:pt x="993" y="136"/>
                  </a:moveTo>
                  <a:cubicBezTo>
                    <a:pt x="996" y="124"/>
                    <a:pt x="998" y="110"/>
                    <a:pt x="998" y="96"/>
                  </a:cubicBezTo>
                  <a:lnTo>
                    <a:pt x="998" y="79"/>
                  </a:lnTo>
                  <a:lnTo>
                    <a:pt x="1025" y="79"/>
                  </a:lnTo>
                  <a:lnTo>
                    <a:pt x="1025" y="157"/>
                  </a:lnTo>
                  <a:lnTo>
                    <a:pt x="984" y="157"/>
                  </a:lnTo>
                  <a:cubicBezTo>
                    <a:pt x="987" y="151"/>
                    <a:pt x="990" y="144"/>
                    <a:pt x="993" y="136"/>
                  </a:cubicBezTo>
                  <a:close/>
                  <a:moveTo>
                    <a:pt x="968" y="212"/>
                  </a:moveTo>
                  <a:lnTo>
                    <a:pt x="969" y="180"/>
                  </a:lnTo>
                  <a:lnTo>
                    <a:pt x="1041" y="180"/>
                  </a:lnTo>
                  <a:lnTo>
                    <a:pt x="1043" y="212"/>
                  </a:lnTo>
                  <a:lnTo>
                    <a:pt x="1064" y="212"/>
                  </a:lnTo>
                  <a:lnTo>
                    <a:pt x="1066" y="159"/>
                  </a:lnTo>
                  <a:lnTo>
                    <a:pt x="1053" y="158"/>
                  </a:lnTo>
                  <a:lnTo>
                    <a:pt x="1053" y="56"/>
                  </a:lnTo>
                  <a:lnTo>
                    <a:pt x="972" y="56"/>
                  </a:lnTo>
                  <a:lnTo>
                    <a:pt x="972" y="89"/>
                  </a:lnTo>
                  <a:cubicBezTo>
                    <a:pt x="972" y="104"/>
                    <a:pt x="971" y="118"/>
                    <a:pt x="967" y="131"/>
                  </a:cubicBezTo>
                  <a:cubicBezTo>
                    <a:pt x="964" y="140"/>
                    <a:pt x="960" y="149"/>
                    <a:pt x="955" y="158"/>
                  </a:cubicBezTo>
                  <a:lnTo>
                    <a:pt x="945" y="159"/>
                  </a:lnTo>
                  <a:lnTo>
                    <a:pt x="946" y="212"/>
                  </a:lnTo>
                  <a:lnTo>
                    <a:pt x="968" y="212"/>
                  </a:lnTo>
                  <a:close/>
                  <a:moveTo>
                    <a:pt x="492" y="122"/>
                  </a:moveTo>
                  <a:cubicBezTo>
                    <a:pt x="493" y="144"/>
                    <a:pt x="498" y="164"/>
                    <a:pt x="505" y="181"/>
                  </a:cubicBezTo>
                  <a:cubicBezTo>
                    <a:pt x="495" y="186"/>
                    <a:pt x="488" y="191"/>
                    <a:pt x="484" y="193"/>
                  </a:cubicBezTo>
                  <a:cubicBezTo>
                    <a:pt x="464" y="175"/>
                    <a:pt x="451" y="150"/>
                    <a:pt x="450" y="122"/>
                  </a:cubicBezTo>
                  <a:lnTo>
                    <a:pt x="492" y="122"/>
                  </a:lnTo>
                  <a:close/>
                  <a:moveTo>
                    <a:pt x="488" y="39"/>
                  </a:moveTo>
                  <a:cubicBezTo>
                    <a:pt x="493" y="42"/>
                    <a:pt x="500" y="46"/>
                    <a:pt x="508" y="50"/>
                  </a:cubicBezTo>
                  <a:cubicBezTo>
                    <a:pt x="500" y="67"/>
                    <a:pt x="493" y="88"/>
                    <a:pt x="492" y="112"/>
                  </a:cubicBezTo>
                  <a:lnTo>
                    <a:pt x="450" y="112"/>
                  </a:lnTo>
                  <a:cubicBezTo>
                    <a:pt x="452" y="83"/>
                    <a:pt x="466" y="57"/>
                    <a:pt x="488" y="39"/>
                  </a:cubicBezTo>
                  <a:close/>
                  <a:moveTo>
                    <a:pt x="529" y="16"/>
                  </a:moveTo>
                  <a:cubicBezTo>
                    <a:pt x="524" y="22"/>
                    <a:pt x="519" y="31"/>
                    <a:pt x="513" y="41"/>
                  </a:cubicBezTo>
                  <a:cubicBezTo>
                    <a:pt x="512" y="40"/>
                    <a:pt x="511" y="40"/>
                    <a:pt x="511" y="40"/>
                  </a:cubicBezTo>
                  <a:cubicBezTo>
                    <a:pt x="505" y="37"/>
                    <a:pt x="501" y="34"/>
                    <a:pt x="497" y="32"/>
                  </a:cubicBezTo>
                  <a:cubicBezTo>
                    <a:pt x="507" y="25"/>
                    <a:pt x="518" y="20"/>
                    <a:pt x="529" y="16"/>
                  </a:cubicBezTo>
                  <a:close/>
                  <a:moveTo>
                    <a:pt x="563" y="10"/>
                  </a:moveTo>
                  <a:lnTo>
                    <a:pt x="563" y="53"/>
                  </a:lnTo>
                  <a:cubicBezTo>
                    <a:pt x="548" y="53"/>
                    <a:pt x="534" y="49"/>
                    <a:pt x="523" y="45"/>
                  </a:cubicBezTo>
                  <a:cubicBezTo>
                    <a:pt x="524" y="43"/>
                    <a:pt x="525" y="42"/>
                    <a:pt x="526" y="40"/>
                  </a:cubicBezTo>
                  <a:cubicBezTo>
                    <a:pt x="535" y="25"/>
                    <a:pt x="545" y="15"/>
                    <a:pt x="547" y="12"/>
                  </a:cubicBezTo>
                  <a:cubicBezTo>
                    <a:pt x="553" y="11"/>
                    <a:pt x="558" y="10"/>
                    <a:pt x="563" y="10"/>
                  </a:cubicBezTo>
                  <a:close/>
                  <a:moveTo>
                    <a:pt x="563" y="112"/>
                  </a:moveTo>
                  <a:lnTo>
                    <a:pt x="503" y="112"/>
                  </a:lnTo>
                  <a:cubicBezTo>
                    <a:pt x="504" y="90"/>
                    <a:pt x="510" y="71"/>
                    <a:pt x="518" y="55"/>
                  </a:cubicBezTo>
                  <a:cubicBezTo>
                    <a:pt x="530" y="60"/>
                    <a:pt x="546" y="63"/>
                    <a:pt x="563" y="64"/>
                  </a:cubicBezTo>
                  <a:lnTo>
                    <a:pt x="563" y="112"/>
                  </a:lnTo>
                  <a:close/>
                  <a:moveTo>
                    <a:pt x="563" y="166"/>
                  </a:moveTo>
                  <a:cubicBezTo>
                    <a:pt x="544" y="166"/>
                    <a:pt x="528" y="171"/>
                    <a:pt x="515" y="176"/>
                  </a:cubicBezTo>
                  <a:cubicBezTo>
                    <a:pt x="509" y="161"/>
                    <a:pt x="504" y="143"/>
                    <a:pt x="503" y="122"/>
                  </a:cubicBezTo>
                  <a:lnTo>
                    <a:pt x="563" y="122"/>
                  </a:lnTo>
                  <a:lnTo>
                    <a:pt x="563" y="166"/>
                  </a:lnTo>
                  <a:close/>
                  <a:moveTo>
                    <a:pt x="563" y="225"/>
                  </a:moveTo>
                  <a:cubicBezTo>
                    <a:pt x="556" y="225"/>
                    <a:pt x="549" y="224"/>
                    <a:pt x="542" y="223"/>
                  </a:cubicBezTo>
                  <a:cubicBezTo>
                    <a:pt x="539" y="219"/>
                    <a:pt x="531" y="209"/>
                    <a:pt x="523" y="194"/>
                  </a:cubicBezTo>
                  <a:cubicBezTo>
                    <a:pt x="522" y="192"/>
                    <a:pt x="520" y="189"/>
                    <a:pt x="519" y="186"/>
                  </a:cubicBezTo>
                  <a:cubicBezTo>
                    <a:pt x="531" y="181"/>
                    <a:pt x="546" y="177"/>
                    <a:pt x="563" y="176"/>
                  </a:cubicBezTo>
                  <a:lnTo>
                    <a:pt x="563" y="225"/>
                  </a:lnTo>
                  <a:close/>
                  <a:moveTo>
                    <a:pt x="492" y="201"/>
                  </a:moveTo>
                  <a:cubicBezTo>
                    <a:pt x="496" y="198"/>
                    <a:pt x="502" y="194"/>
                    <a:pt x="509" y="191"/>
                  </a:cubicBezTo>
                  <a:cubicBezTo>
                    <a:pt x="515" y="202"/>
                    <a:pt x="520" y="211"/>
                    <a:pt x="525" y="218"/>
                  </a:cubicBezTo>
                  <a:cubicBezTo>
                    <a:pt x="513" y="214"/>
                    <a:pt x="502" y="208"/>
                    <a:pt x="492" y="201"/>
                  </a:cubicBezTo>
                  <a:close/>
                  <a:moveTo>
                    <a:pt x="573" y="176"/>
                  </a:moveTo>
                  <a:cubicBezTo>
                    <a:pt x="591" y="177"/>
                    <a:pt x="606" y="181"/>
                    <a:pt x="618" y="186"/>
                  </a:cubicBezTo>
                  <a:cubicBezTo>
                    <a:pt x="617" y="189"/>
                    <a:pt x="615" y="191"/>
                    <a:pt x="614" y="194"/>
                  </a:cubicBezTo>
                  <a:cubicBezTo>
                    <a:pt x="605" y="210"/>
                    <a:pt x="597" y="220"/>
                    <a:pt x="594" y="223"/>
                  </a:cubicBezTo>
                  <a:cubicBezTo>
                    <a:pt x="588" y="224"/>
                    <a:pt x="580" y="225"/>
                    <a:pt x="573" y="225"/>
                  </a:cubicBezTo>
                  <a:lnTo>
                    <a:pt x="573" y="176"/>
                  </a:lnTo>
                  <a:close/>
                  <a:moveTo>
                    <a:pt x="573" y="122"/>
                  </a:moveTo>
                  <a:lnTo>
                    <a:pt x="634" y="122"/>
                  </a:lnTo>
                  <a:cubicBezTo>
                    <a:pt x="633" y="142"/>
                    <a:pt x="628" y="161"/>
                    <a:pt x="622" y="176"/>
                  </a:cubicBezTo>
                  <a:cubicBezTo>
                    <a:pt x="609" y="171"/>
                    <a:pt x="592" y="167"/>
                    <a:pt x="573" y="166"/>
                  </a:cubicBezTo>
                  <a:lnTo>
                    <a:pt x="573" y="122"/>
                  </a:lnTo>
                  <a:close/>
                  <a:moveTo>
                    <a:pt x="573" y="64"/>
                  </a:moveTo>
                  <a:cubicBezTo>
                    <a:pt x="591" y="64"/>
                    <a:pt x="607" y="60"/>
                    <a:pt x="620" y="56"/>
                  </a:cubicBezTo>
                  <a:cubicBezTo>
                    <a:pt x="627" y="71"/>
                    <a:pt x="633" y="91"/>
                    <a:pt x="634" y="112"/>
                  </a:cubicBezTo>
                  <a:lnTo>
                    <a:pt x="573" y="112"/>
                  </a:lnTo>
                  <a:lnTo>
                    <a:pt x="573" y="64"/>
                  </a:lnTo>
                  <a:close/>
                  <a:moveTo>
                    <a:pt x="573" y="10"/>
                  </a:moveTo>
                  <a:cubicBezTo>
                    <a:pt x="579" y="10"/>
                    <a:pt x="584" y="11"/>
                    <a:pt x="589" y="12"/>
                  </a:cubicBezTo>
                  <a:cubicBezTo>
                    <a:pt x="592" y="15"/>
                    <a:pt x="602" y="25"/>
                    <a:pt x="611" y="40"/>
                  </a:cubicBezTo>
                  <a:cubicBezTo>
                    <a:pt x="612" y="42"/>
                    <a:pt x="613" y="44"/>
                    <a:pt x="614" y="46"/>
                  </a:cubicBezTo>
                  <a:cubicBezTo>
                    <a:pt x="603" y="50"/>
                    <a:pt x="589" y="53"/>
                    <a:pt x="573" y="54"/>
                  </a:cubicBezTo>
                  <a:lnTo>
                    <a:pt x="573" y="10"/>
                  </a:lnTo>
                  <a:close/>
                  <a:moveTo>
                    <a:pt x="643" y="33"/>
                  </a:moveTo>
                  <a:cubicBezTo>
                    <a:pt x="639" y="35"/>
                    <a:pt x="634" y="38"/>
                    <a:pt x="627" y="41"/>
                  </a:cubicBezTo>
                  <a:cubicBezTo>
                    <a:pt x="626" y="41"/>
                    <a:pt x="625" y="42"/>
                    <a:pt x="625" y="42"/>
                  </a:cubicBezTo>
                  <a:cubicBezTo>
                    <a:pt x="619" y="31"/>
                    <a:pt x="612" y="22"/>
                    <a:pt x="607" y="16"/>
                  </a:cubicBezTo>
                  <a:cubicBezTo>
                    <a:pt x="620" y="20"/>
                    <a:pt x="632" y="26"/>
                    <a:pt x="643" y="33"/>
                  </a:cubicBezTo>
                  <a:close/>
                  <a:moveTo>
                    <a:pt x="688" y="112"/>
                  </a:moveTo>
                  <a:lnTo>
                    <a:pt x="645" y="112"/>
                  </a:lnTo>
                  <a:cubicBezTo>
                    <a:pt x="644" y="89"/>
                    <a:pt x="637" y="68"/>
                    <a:pt x="630" y="52"/>
                  </a:cubicBezTo>
                  <a:cubicBezTo>
                    <a:pt x="640" y="47"/>
                    <a:pt x="647" y="43"/>
                    <a:pt x="652" y="40"/>
                  </a:cubicBezTo>
                  <a:cubicBezTo>
                    <a:pt x="673" y="59"/>
                    <a:pt x="686" y="84"/>
                    <a:pt x="688" y="112"/>
                  </a:cubicBezTo>
                  <a:close/>
                  <a:moveTo>
                    <a:pt x="655" y="192"/>
                  </a:moveTo>
                  <a:cubicBezTo>
                    <a:pt x="654" y="192"/>
                    <a:pt x="646" y="186"/>
                    <a:pt x="632" y="180"/>
                  </a:cubicBezTo>
                  <a:cubicBezTo>
                    <a:pt x="639" y="164"/>
                    <a:pt x="644" y="144"/>
                    <a:pt x="645" y="122"/>
                  </a:cubicBezTo>
                  <a:lnTo>
                    <a:pt x="688" y="122"/>
                  </a:lnTo>
                  <a:cubicBezTo>
                    <a:pt x="687" y="150"/>
                    <a:pt x="674" y="174"/>
                    <a:pt x="655" y="192"/>
                  </a:cubicBezTo>
                  <a:close/>
                  <a:moveTo>
                    <a:pt x="612" y="218"/>
                  </a:moveTo>
                  <a:cubicBezTo>
                    <a:pt x="616" y="211"/>
                    <a:pt x="622" y="202"/>
                    <a:pt x="628" y="190"/>
                  </a:cubicBezTo>
                  <a:cubicBezTo>
                    <a:pt x="637" y="194"/>
                    <a:pt x="643" y="198"/>
                    <a:pt x="646" y="200"/>
                  </a:cubicBezTo>
                  <a:cubicBezTo>
                    <a:pt x="636" y="208"/>
                    <a:pt x="624" y="214"/>
                    <a:pt x="612" y="218"/>
                  </a:cubicBezTo>
                  <a:close/>
                  <a:moveTo>
                    <a:pt x="563" y="236"/>
                  </a:moveTo>
                  <a:lnTo>
                    <a:pt x="563" y="236"/>
                  </a:lnTo>
                  <a:lnTo>
                    <a:pt x="573" y="236"/>
                  </a:lnTo>
                  <a:lnTo>
                    <a:pt x="573" y="236"/>
                  </a:lnTo>
                  <a:cubicBezTo>
                    <a:pt x="643" y="234"/>
                    <a:pt x="699" y="182"/>
                    <a:pt x="699" y="118"/>
                  </a:cubicBezTo>
                  <a:cubicBezTo>
                    <a:pt x="699" y="53"/>
                    <a:pt x="641" y="0"/>
                    <a:pt x="569" y="0"/>
                  </a:cubicBezTo>
                  <a:cubicBezTo>
                    <a:pt x="497" y="0"/>
                    <a:pt x="438" y="53"/>
                    <a:pt x="438" y="118"/>
                  </a:cubicBezTo>
                  <a:cubicBezTo>
                    <a:pt x="438" y="181"/>
                    <a:pt x="494" y="233"/>
                    <a:pt x="563" y="236"/>
                  </a:cubicBezTo>
                  <a:close/>
                  <a:moveTo>
                    <a:pt x="776" y="135"/>
                  </a:moveTo>
                  <a:cubicBezTo>
                    <a:pt x="783" y="122"/>
                    <a:pt x="791" y="106"/>
                    <a:pt x="797" y="91"/>
                  </a:cubicBezTo>
                  <a:lnTo>
                    <a:pt x="797" y="91"/>
                  </a:lnTo>
                  <a:cubicBezTo>
                    <a:pt x="796" y="107"/>
                    <a:pt x="795" y="124"/>
                    <a:pt x="795" y="144"/>
                  </a:cubicBezTo>
                  <a:lnTo>
                    <a:pt x="795" y="180"/>
                  </a:lnTo>
                  <a:lnTo>
                    <a:pt x="821" y="180"/>
                  </a:lnTo>
                  <a:lnTo>
                    <a:pt x="821" y="56"/>
                  </a:lnTo>
                  <a:lnTo>
                    <a:pt x="792" y="56"/>
                  </a:lnTo>
                  <a:lnTo>
                    <a:pt x="766" y="105"/>
                  </a:lnTo>
                  <a:cubicBezTo>
                    <a:pt x="758" y="118"/>
                    <a:pt x="750" y="135"/>
                    <a:pt x="744" y="149"/>
                  </a:cubicBezTo>
                  <a:lnTo>
                    <a:pt x="743" y="149"/>
                  </a:lnTo>
                  <a:cubicBezTo>
                    <a:pt x="744" y="133"/>
                    <a:pt x="744" y="113"/>
                    <a:pt x="744" y="93"/>
                  </a:cubicBezTo>
                  <a:lnTo>
                    <a:pt x="744" y="56"/>
                  </a:lnTo>
                  <a:lnTo>
                    <a:pt x="719" y="56"/>
                  </a:lnTo>
                  <a:lnTo>
                    <a:pt x="719" y="180"/>
                  </a:lnTo>
                  <a:lnTo>
                    <a:pt x="751" y="180"/>
                  </a:lnTo>
                  <a:lnTo>
                    <a:pt x="776" y="135"/>
                  </a:lnTo>
                  <a:close/>
                  <a:moveTo>
                    <a:pt x="879" y="159"/>
                  </a:moveTo>
                  <a:cubicBezTo>
                    <a:pt x="868" y="159"/>
                    <a:pt x="855" y="155"/>
                    <a:pt x="849" y="152"/>
                  </a:cubicBezTo>
                  <a:lnTo>
                    <a:pt x="843" y="174"/>
                  </a:lnTo>
                  <a:cubicBezTo>
                    <a:pt x="854" y="179"/>
                    <a:pt x="868" y="182"/>
                    <a:pt x="880" y="182"/>
                  </a:cubicBezTo>
                  <a:cubicBezTo>
                    <a:pt x="904" y="182"/>
                    <a:pt x="932" y="173"/>
                    <a:pt x="932" y="145"/>
                  </a:cubicBezTo>
                  <a:cubicBezTo>
                    <a:pt x="932" y="128"/>
                    <a:pt x="918" y="118"/>
                    <a:pt x="903" y="116"/>
                  </a:cubicBezTo>
                  <a:lnTo>
                    <a:pt x="903" y="115"/>
                  </a:lnTo>
                  <a:cubicBezTo>
                    <a:pt x="917" y="112"/>
                    <a:pt x="927" y="101"/>
                    <a:pt x="927" y="86"/>
                  </a:cubicBezTo>
                  <a:cubicBezTo>
                    <a:pt x="927" y="68"/>
                    <a:pt x="911" y="54"/>
                    <a:pt x="884" y="54"/>
                  </a:cubicBezTo>
                  <a:cubicBezTo>
                    <a:pt x="867" y="54"/>
                    <a:pt x="854" y="59"/>
                    <a:pt x="846" y="64"/>
                  </a:cubicBezTo>
                  <a:lnTo>
                    <a:pt x="852" y="84"/>
                  </a:lnTo>
                  <a:cubicBezTo>
                    <a:pt x="859" y="81"/>
                    <a:pt x="870" y="77"/>
                    <a:pt x="879" y="77"/>
                  </a:cubicBezTo>
                  <a:cubicBezTo>
                    <a:pt x="891" y="77"/>
                    <a:pt x="898" y="82"/>
                    <a:pt x="898" y="90"/>
                  </a:cubicBezTo>
                  <a:cubicBezTo>
                    <a:pt x="898" y="100"/>
                    <a:pt x="889" y="106"/>
                    <a:pt x="876" y="106"/>
                  </a:cubicBezTo>
                  <a:lnTo>
                    <a:pt x="864" y="106"/>
                  </a:lnTo>
                  <a:lnTo>
                    <a:pt x="864" y="127"/>
                  </a:lnTo>
                  <a:lnTo>
                    <a:pt x="876" y="127"/>
                  </a:lnTo>
                  <a:cubicBezTo>
                    <a:pt x="888" y="127"/>
                    <a:pt x="902" y="129"/>
                    <a:pt x="902" y="143"/>
                  </a:cubicBezTo>
                  <a:cubicBezTo>
                    <a:pt x="902" y="153"/>
                    <a:pt x="893" y="159"/>
                    <a:pt x="879" y="159"/>
                  </a:cubicBezTo>
                  <a:close/>
                  <a:moveTo>
                    <a:pt x="1900" y="125"/>
                  </a:moveTo>
                  <a:lnTo>
                    <a:pt x="1910" y="125"/>
                  </a:lnTo>
                  <a:cubicBezTo>
                    <a:pt x="1924" y="125"/>
                    <a:pt x="1935" y="130"/>
                    <a:pt x="1935" y="143"/>
                  </a:cubicBezTo>
                  <a:cubicBezTo>
                    <a:pt x="1935" y="156"/>
                    <a:pt x="1924" y="161"/>
                    <a:pt x="1911" y="161"/>
                  </a:cubicBezTo>
                  <a:cubicBezTo>
                    <a:pt x="1906" y="161"/>
                    <a:pt x="1903" y="161"/>
                    <a:pt x="1900" y="160"/>
                  </a:cubicBezTo>
                  <a:lnTo>
                    <a:pt x="1900" y="125"/>
                  </a:lnTo>
                  <a:close/>
                  <a:moveTo>
                    <a:pt x="1900" y="76"/>
                  </a:moveTo>
                  <a:cubicBezTo>
                    <a:pt x="1903" y="76"/>
                    <a:pt x="1906" y="76"/>
                    <a:pt x="1912" y="76"/>
                  </a:cubicBezTo>
                  <a:cubicBezTo>
                    <a:pt x="1925" y="76"/>
                    <a:pt x="1932" y="81"/>
                    <a:pt x="1932" y="90"/>
                  </a:cubicBezTo>
                  <a:cubicBezTo>
                    <a:pt x="1932" y="99"/>
                    <a:pt x="1924" y="105"/>
                    <a:pt x="1910" y="105"/>
                  </a:cubicBezTo>
                  <a:lnTo>
                    <a:pt x="1900" y="105"/>
                  </a:lnTo>
                  <a:lnTo>
                    <a:pt x="1900" y="76"/>
                  </a:lnTo>
                  <a:close/>
                  <a:moveTo>
                    <a:pt x="1952" y="170"/>
                  </a:moveTo>
                  <a:cubicBezTo>
                    <a:pt x="1959" y="164"/>
                    <a:pt x="1965" y="155"/>
                    <a:pt x="1965" y="144"/>
                  </a:cubicBezTo>
                  <a:cubicBezTo>
                    <a:pt x="1965" y="128"/>
                    <a:pt x="1954" y="117"/>
                    <a:pt x="1940" y="113"/>
                  </a:cubicBezTo>
                  <a:lnTo>
                    <a:pt x="1940" y="113"/>
                  </a:lnTo>
                  <a:cubicBezTo>
                    <a:pt x="1954" y="108"/>
                    <a:pt x="1960" y="98"/>
                    <a:pt x="1960" y="87"/>
                  </a:cubicBezTo>
                  <a:cubicBezTo>
                    <a:pt x="1960" y="75"/>
                    <a:pt x="1954" y="67"/>
                    <a:pt x="1945" y="62"/>
                  </a:cubicBezTo>
                  <a:cubicBezTo>
                    <a:pt x="1936" y="57"/>
                    <a:pt x="1926" y="55"/>
                    <a:pt x="1909" y="55"/>
                  </a:cubicBezTo>
                  <a:cubicBezTo>
                    <a:pt x="1895" y="55"/>
                    <a:pt x="1880" y="56"/>
                    <a:pt x="1873" y="58"/>
                  </a:cubicBezTo>
                  <a:lnTo>
                    <a:pt x="1873" y="180"/>
                  </a:lnTo>
                  <a:cubicBezTo>
                    <a:pt x="1879" y="180"/>
                    <a:pt x="1889" y="181"/>
                    <a:pt x="1903" y="181"/>
                  </a:cubicBezTo>
                  <a:cubicBezTo>
                    <a:pt x="1928" y="181"/>
                    <a:pt x="1943" y="177"/>
                    <a:pt x="1952" y="170"/>
                  </a:cubicBezTo>
                  <a:close/>
                  <a:moveTo>
                    <a:pt x="1791" y="180"/>
                  </a:moveTo>
                  <a:lnTo>
                    <a:pt x="1819" y="180"/>
                  </a:lnTo>
                  <a:lnTo>
                    <a:pt x="1819" y="80"/>
                  </a:lnTo>
                  <a:lnTo>
                    <a:pt x="1853" y="80"/>
                  </a:lnTo>
                  <a:lnTo>
                    <a:pt x="1853" y="56"/>
                  </a:lnTo>
                  <a:lnTo>
                    <a:pt x="1758" y="56"/>
                  </a:lnTo>
                  <a:lnTo>
                    <a:pt x="1758" y="80"/>
                  </a:lnTo>
                  <a:lnTo>
                    <a:pt x="1791" y="80"/>
                  </a:lnTo>
                  <a:lnTo>
                    <a:pt x="1791" y="180"/>
                  </a:lnTo>
                  <a:close/>
                  <a:moveTo>
                    <a:pt x="2041" y="76"/>
                  </a:moveTo>
                  <a:cubicBezTo>
                    <a:pt x="2061" y="76"/>
                    <a:pt x="2071" y="96"/>
                    <a:pt x="2071" y="118"/>
                  </a:cubicBezTo>
                  <a:cubicBezTo>
                    <a:pt x="2071" y="142"/>
                    <a:pt x="2061" y="160"/>
                    <a:pt x="2042" y="160"/>
                  </a:cubicBezTo>
                  <a:cubicBezTo>
                    <a:pt x="2023" y="160"/>
                    <a:pt x="2011" y="143"/>
                    <a:pt x="2011" y="119"/>
                  </a:cubicBezTo>
                  <a:cubicBezTo>
                    <a:pt x="2011" y="94"/>
                    <a:pt x="2022" y="76"/>
                    <a:pt x="2041" y="76"/>
                  </a:cubicBezTo>
                  <a:close/>
                  <a:moveTo>
                    <a:pt x="2040" y="182"/>
                  </a:moveTo>
                  <a:cubicBezTo>
                    <a:pt x="2076" y="182"/>
                    <a:pt x="2101" y="158"/>
                    <a:pt x="2101" y="117"/>
                  </a:cubicBezTo>
                  <a:cubicBezTo>
                    <a:pt x="2101" y="83"/>
                    <a:pt x="2080" y="54"/>
                    <a:pt x="2042" y="54"/>
                  </a:cubicBezTo>
                  <a:cubicBezTo>
                    <a:pt x="2006" y="54"/>
                    <a:pt x="1982" y="82"/>
                    <a:pt x="1982" y="119"/>
                  </a:cubicBezTo>
                  <a:cubicBezTo>
                    <a:pt x="1982" y="154"/>
                    <a:pt x="2003" y="182"/>
                    <a:pt x="2040" y="182"/>
                  </a:cubicBezTo>
                  <a:close/>
                  <a:moveTo>
                    <a:pt x="1563" y="121"/>
                  </a:moveTo>
                  <a:cubicBezTo>
                    <a:pt x="1566" y="120"/>
                    <a:pt x="1569" y="120"/>
                    <a:pt x="1573" y="120"/>
                  </a:cubicBezTo>
                  <a:cubicBezTo>
                    <a:pt x="1587" y="120"/>
                    <a:pt x="1598" y="126"/>
                    <a:pt x="1598" y="140"/>
                  </a:cubicBezTo>
                  <a:cubicBezTo>
                    <a:pt x="1598" y="154"/>
                    <a:pt x="1587" y="160"/>
                    <a:pt x="1573" y="160"/>
                  </a:cubicBezTo>
                  <a:cubicBezTo>
                    <a:pt x="1569" y="160"/>
                    <a:pt x="1566" y="160"/>
                    <a:pt x="1563" y="160"/>
                  </a:cubicBezTo>
                  <a:lnTo>
                    <a:pt x="1563" y="121"/>
                  </a:lnTo>
                  <a:close/>
                  <a:moveTo>
                    <a:pt x="1617" y="166"/>
                  </a:moveTo>
                  <a:cubicBezTo>
                    <a:pt x="1623" y="159"/>
                    <a:pt x="1627" y="150"/>
                    <a:pt x="1627" y="139"/>
                  </a:cubicBezTo>
                  <a:cubicBezTo>
                    <a:pt x="1627" y="111"/>
                    <a:pt x="1604" y="98"/>
                    <a:pt x="1578" y="98"/>
                  </a:cubicBezTo>
                  <a:cubicBezTo>
                    <a:pt x="1572" y="98"/>
                    <a:pt x="1567" y="99"/>
                    <a:pt x="1563" y="99"/>
                  </a:cubicBezTo>
                  <a:lnTo>
                    <a:pt x="1563" y="56"/>
                  </a:lnTo>
                  <a:lnTo>
                    <a:pt x="1535" y="56"/>
                  </a:lnTo>
                  <a:lnTo>
                    <a:pt x="1535" y="180"/>
                  </a:lnTo>
                  <a:cubicBezTo>
                    <a:pt x="1541" y="180"/>
                    <a:pt x="1551" y="181"/>
                    <a:pt x="1565" y="181"/>
                  </a:cubicBezTo>
                  <a:cubicBezTo>
                    <a:pt x="1584" y="181"/>
                    <a:pt x="1605" y="178"/>
                    <a:pt x="1617" y="166"/>
                  </a:cubicBezTo>
                  <a:close/>
                  <a:moveTo>
                    <a:pt x="1709" y="182"/>
                  </a:moveTo>
                  <a:cubicBezTo>
                    <a:pt x="1724" y="182"/>
                    <a:pt x="1735" y="179"/>
                    <a:pt x="1741" y="177"/>
                  </a:cubicBezTo>
                  <a:lnTo>
                    <a:pt x="1736" y="155"/>
                  </a:lnTo>
                  <a:cubicBezTo>
                    <a:pt x="1731" y="157"/>
                    <a:pt x="1721" y="159"/>
                    <a:pt x="1713" y="159"/>
                  </a:cubicBezTo>
                  <a:cubicBezTo>
                    <a:pt x="1688" y="159"/>
                    <a:pt x="1673" y="143"/>
                    <a:pt x="1673" y="118"/>
                  </a:cubicBezTo>
                  <a:cubicBezTo>
                    <a:pt x="1673" y="91"/>
                    <a:pt x="1691" y="77"/>
                    <a:pt x="1713" y="77"/>
                  </a:cubicBezTo>
                  <a:cubicBezTo>
                    <a:pt x="1723" y="77"/>
                    <a:pt x="1731" y="80"/>
                    <a:pt x="1736" y="82"/>
                  </a:cubicBezTo>
                  <a:lnTo>
                    <a:pt x="1742" y="60"/>
                  </a:lnTo>
                  <a:cubicBezTo>
                    <a:pt x="1737" y="57"/>
                    <a:pt x="1726" y="54"/>
                    <a:pt x="1712" y="54"/>
                  </a:cubicBezTo>
                  <a:cubicBezTo>
                    <a:pt x="1674" y="54"/>
                    <a:pt x="1644" y="78"/>
                    <a:pt x="1644" y="120"/>
                  </a:cubicBezTo>
                  <a:cubicBezTo>
                    <a:pt x="1644" y="155"/>
                    <a:pt x="1666" y="182"/>
                    <a:pt x="1709" y="182"/>
                  </a:cubicBezTo>
                  <a:close/>
                  <a:moveTo>
                    <a:pt x="1427" y="176"/>
                  </a:moveTo>
                  <a:cubicBezTo>
                    <a:pt x="1445" y="165"/>
                    <a:pt x="1450" y="140"/>
                    <a:pt x="1450" y="109"/>
                  </a:cubicBezTo>
                  <a:lnTo>
                    <a:pt x="1450" y="79"/>
                  </a:lnTo>
                  <a:lnTo>
                    <a:pt x="1478" y="79"/>
                  </a:lnTo>
                  <a:lnTo>
                    <a:pt x="1478" y="180"/>
                  </a:lnTo>
                  <a:lnTo>
                    <a:pt x="1506" y="180"/>
                  </a:lnTo>
                  <a:lnTo>
                    <a:pt x="1506" y="56"/>
                  </a:lnTo>
                  <a:lnTo>
                    <a:pt x="1422" y="56"/>
                  </a:lnTo>
                  <a:lnTo>
                    <a:pt x="1422" y="110"/>
                  </a:lnTo>
                  <a:cubicBezTo>
                    <a:pt x="1422" y="129"/>
                    <a:pt x="1420" y="145"/>
                    <a:pt x="1413" y="153"/>
                  </a:cubicBezTo>
                  <a:cubicBezTo>
                    <a:pt x="1410" y="156"/>
                    <a:pt x="1405" y="159"/>
                    <a:pt x="1399" y="160"/>
                  </a:cubicBezTo>
                  <a:lnTo>
                    <a:pt x="1402" y="182"/>
                  </a:lnTo>
                  <a:cubicBezTo>
                    <a:pt x="1412" y="182"/>
                    <a:pt x="1421" y="180"/>
                    <a:pt x="1427" y="17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pic>
        <p:nvPicPr>
          <p:cNvPr id="56322" name="Picture 2" descr="G:\2019\ПРОСВЕЩЕНИЕ\2020\август\августовка на переделку\Рисунок1.emf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9542" y="1655303"/>
            <a:ext cx="780452" cy="7804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67992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47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815026" y="164667"/>
            <a:ext cx="554369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Читательская грамотность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477672" y="1774209"/>
            <a:ext cx="1018991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0" indent="-857250">
              <a:buFont typeface="Arial" panose="020B0604020202020204" pitchFamily="34" charset="0"/>
              <a:buChar char="•"/>
            </a:pPr>
            <a:r>
              <a:rPr lang="ru-RU" sz="6000" b="1" dirty="0" smtClean="0">
                <a:solidFill>
                  <a:srgbClr val="002060"/>
                </a:solidFill>
              </a:rPr>
              <a:t>локализация информации</a:t>
            </a:r>
            <a:endParaRPr lang="ru-RU" sz="6000" b="1" dirty="0">
              <a:solidFill>
                <a:srgbClr val="002060"/>
              </a:solidFill>
            </a:endParaRP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ru-RU" sz="6000" b="1" dirty="0" smtClean="0">
                <a:solidFill>
                  <a:srgbClr val="002060"/>
                </a:solidFill>
              </a:rPr>
              <a:t>понимание</a:t>
            </a:r>
            <a:endParaRPr lang="ru-RU" sz="6000" b="1" dirty="0">
              <a:solidFill>
                <a:srgbClr val="002060"/>
              </a:solidFill>
            </a:endParaRPr>
          </a:p>
          <a:p>
            <a:pPr marL="857250" indent="-857250">
              <a:buFont typeface="Arial" panose="020B0604020202020204" pitchFamily="34" charset="0"/>
              <a:buChar char="•"/>
            </a:pPr>
            <a:r>
              <a:rPr lang="ru-RU" sz="6000" b="1" dirty="0">
                <a:solidFill>
                  <a:srgbClr val="002060"/>
                </a:solidFill>
              </a:rPr>
              <a:t>оценка и </a:t>
            </a:r>
            <a:r>
              <a:rPr lang="ru-RU" sz="6000" b="1" dirty="0" smtClean="0">
                <a:solidFill>
                  <a:srgbClr val="002060"/>
                </a:solidFill>
              </a:rPr>
              <a:t>рефлексия</a:t>
            </a:r>
            <a:endParaRPr lang="ru-RU" sz="6000" b="1" dirty="0">
              <a:solidFill>
                <a:srgbClr val="002060"/>
              </a:solidFill>
            </a:endParaRPr>
          </a:p>
        </p:txBody>
      </p:sp>
      <p:pic>
        <p:nvPicPr>
          <p:cNvPr id="25" name="Picture 2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74490" y="4441145"/>
            <a:ext cx="1602414" cy="1602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7" name="Группа 26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8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927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4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842322" y="136369"/>
            <a:ext cx="496552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Работа с одним текстом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5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64024" y="1269242"/>
            <a:ext cx="1127305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 smtClean="0">
                <a:solidFill>
                  <a:srgbClr val="002060"/>
                </a:solidFill>
              </a:rPr>
              <a:t>просмотр </a:t>
            </a:r>
            <a:r>
              <a:rPr lang="ru-RU" sz="4000" b="1" dirty="0">
                <a:solidFill>
                  <a:srgbClr val="002060"/>
                </a:solidFill>
              </a:rPr>
              <a:t>и </a:t>
            </a:r>
            <a:r>
              <a:rPr lang="ru-RU" sz="4000" b="1" dirty="0" smtClean="0">
                <a:solidFill>
                  <a:srgbClr val="002060"/>
                </a:solidFill>
              </a:rPr>
              <a:t>поиск</a:t>
            </a:r>
            <a:endParaRPr lang="ru-RU" sz="4000" b="1" dirty="0">
              <a:solidFill>
                <a:srgbClr val="002060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>
                <a:solidFill>
                  <a:srgbClr val="002060"/>
                </a:solidFill>
              </a:rPr>
              <a:t>выявление буквального </a:t>
            </a:r>
            <a:r>
              <a:rPr lang="ru-RU" sz="4000" b="1" dirty="0" smtClean="0">
                <a:solidFill>
                  <a:srgbClr val="002060"/>
                </a:solidFill>
              </a:rPr>
              <a:t>смысла</a:t>
            </a:r>
            <a:endParaRPr lang="ru-RU" sz="4000" b="1" dirty="0">
              <a:solidFill>
                <a:srgbClr val="002060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>
                <a:solidFill>
                  <a:srgbClr val="002060"/>
                </a:solidFill>
              </a:rPr>
              <a:t>обобщение и формулирование </a:t>
            </a:r>
            <a:r>
              <a:rPr lang="ru-RU" sz="4000" b="1" dirty="0" smtClean="0">
                <a:solidFill>
                  <a:srgbClr val="002060"/>
                </a:solidFill>
              </a:rPr>
              <a:t>выводов</a:t>
            </a:r>
            <a:endParaRPr lang="ru-RU" sz="4000" b="1" dirty="0">
              <a:solidFill>
                <a:srgbClr val="002060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>
                <a:solidFill>
                  <a:srgbClr val="002060"/>
                </a:solidFill>
              </a:rPr>
              <a:t>оценка качества и </a:t>
            </a:r>
            <a:r>
              <a:rPr lang="ru-RU" sz="4000" b="1" dirty="0" smtClean="0">
                <a:solidFill>
                  <a:srgbClr val="002060"/>
                </a:solidFill>
              </a:rPr>
              <a:t>надёжности</a:t>
            </a:r>
            <a:endParaRPr lang="ru-RU" sz="4000" b="1" dirty="0">
              <a:solidFill>
                <a:srgbClr val="002060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>
                <a:solidFill>
                  <a:srgbClr val="002060"/>
                </a:solidFill>
              </a:rPr>
              <a:t>размышление над содержанием и формой </a:t>
            </a:r>
          </a:p>
        </p:txBody>
      </p:sp>
      <p:grpSp>
        <p:nvGrpSpPr>
          <p:cNvPr id="26" name="Группа 2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192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94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9689" y="164667"/>
            <a:ext cx="56689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А если текстов несколько? 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654967" y="1405719"/>
            <a:ext cx="10983816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400" b="1" dirty="0" smtClean="0">
                <a:solidFill>
                  <a:srgbClr val="002060"/>
                </a:solidFill>
              </a:rPr>
              <a:t>поиск </a:t>
            </a:r>
            <a:r>
              <a:rPr lang="ru-RU" sz="4400" b="1" dirty="0">
                <a:solidFill>
                  <a:srgbClr val="002060"/>
                </a:solidFill>
              </a:rPr>
              <a:t>и выбор соответствующего </a:t>
            </a:r>
            <a:r>
              <a:rPr lang="ru-RU" sz="4400" b="1" dirty="0" smtClean="0">
                <a:solidFill>
                  <a:srgbClr val="002060"/>
                </a:solidFill>
              </a:rPr>
              <a:t>текста</a:t>
            </a:r>
            <a:endParaRPr lang="ru-RU" sz="4400" b="1" dirty="0">
              <a:solidFill>
                <a:srgbClr val="002060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400" b="1" dirty="0">
                <a:solidFill>
                  <a:srgbClr val="002060"/>
                </a:solidFill>
              </a:rPr>
              <a:t>обобщение и формулирование </a:t>
            </a:r>
            <a:r>
              <a:rPr lang="ru-RU" sz="4400" b="1" dirty="0" smtClean="0">
                <a:solidFill>
                  <a:srgbClr val="002060"/>
                </a:solidFill>
              </a:rPr>
              <a:t>выводов</a:t>
            </a:r>
            <a:endParaRPr lang="ru-RU" sz="4400" b="1" dirty="0">
              <a:solidFill>
                <a:srgbClr val="002060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400" b="1" dirty="0">
                <a:solidFill>
                  <a:srgbClr val="002060"/>
                </a:solidFill>
              </a:rPr>
              <a:t>выявление и анализ </a:t>
            </a:r>
            <a:r>
              <a:rPr lang="ru-RU" sz="4400" b="1" dirty="0" smtClean="0">
                <a:solidFill>
                  <a:srgbClr val="002060"/>
                </a:solidFill>
              </a:rPr>
              <a:t>противоречий</a:t>
            </a:r>
            <a:endParaRPr lang="ru-RU" sz="4400" b="1" dirty="0">
              <a:solidFill>
                <a:srgbClr val="002060"/>
              </a:solidFill>
            </a:endParaRPr>
          </a:p>
          <a:p>
            <a:pPr algn="ctr"/>
            <a:endParaRPr lang="ru-RU" sz="4400" dirty="0"/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33" name="Группа 32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34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8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9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8" name="Прямоугольник 37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557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1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801379" y="162101"/>
            <a:ext cx="256070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Итоги - 2018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814675" y="1596787"/>
            <a:ext cx="10365171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5400" b="1" dirty="0">
                <a:solidFill>
                  <a:srgbClr val="002060"/>
                </a:solidFill>
              </a:rPr>
              <a:t>6 уровень –  1%</a:t>
            </a:r>
          </a:p>
          <a:p>
            <a:pPr algn="ctr"/>
            <a:r>
              <a:rPr lang="ru-RU" sz="5400" b="1" dirty="0">
                <a:solidFill>
                  <a:srgbClr val="002060"/>
                </a:solidFill>
              </a:rPr>
              <a:t>5 уровень – 5%</a:t>
            </a:r>
          </a:p>
          <a:p>
            <a:pPr algn="ctr"/>
            <a:r>
              <a:rPr lang="ru-RU" sz="5400" b="1" dirty="0">
                <a:solidFill>
                  <a:srgbClr val="002060"/>
                </a:solidFill>
              </a:rPr>
              <a:t>4 уровень – 16%</a:t>
            </a:r>
          </a:p>
          <a:p>
            <a:pPr algn="ctr"/>
            <a:r>
              <a:rPr lang="ru-RU" sz="5400" b="1" dirty="0">
                <a:solidFill>
                  <a:srgbClr val="002060"/>
                </a:solidFill>
              </a:rPr>
              <a:t>3 уровень – 28%</a:t>
            </a:r>
          </a:p>
          <a:p>
            <a:pPr algn="ctr"/>
            <a:endParaRPr lang="ru-RU" sz="5400" b="1" dirty="0">
              <a:solidFill>
                <a:srgbClr val="002060"/>
              </a:solidFill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6" name="Группа 25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7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0512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58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6788" y="122439"/>
            <a:ext cx="120949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Цель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8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370240" y="761805"/>
            <a:ext cx="11220044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dirty="0"/>
              <a:t>•	</a:t>
            </a:r>
            <a:r>
              <a:rPr lang="ru-RU" sz="2000" dirty="0"/>
              <a:t>детальное и точное </a:t>
            </a:r>
            <a:r>
              <a:rPr lang="ru-RU" sz="2000" b="1" dirty="0">
                <a:solidFill>
                  <a:srgbClr val="FF0000"/>
                </a:solidFill>
              </a:rPr>
              <a:t>интерпретирование </a:t>
            </a:r>
            <a:r>
              <a:rPr lang="ru-RU" sz="2000" dirty="0"/>
              <a:t>текста в целом, всех его частей, каждой единицы информации, сообщенной </a:t>
            </a:r>
            <a:r>
              <a:rPr lang="ru-RU" sz="2000" b="1" dirty="0">
                <a:solidFill>
                  <a:srgbClr val="FF0000"/>
                </a:solidFill>
              </a:rPr>
              <a:t>в самых глубинных слоях </a:t>
            </a:r>
            <a:r>
              <a:rPr lang="ru-RU" sz="2000" dirty="0"/>
              <a:t>текста, и каждой, даже </a:t>
            </a:r>
            <a:r>
              <a:rPr lang="ru-RU" sz="2000" b="1" dirty="0">
                <a:solidFill>
                  <a:srgbClr val="FF0000"/>
                </a:solidFill>
              </a:rPr>
              <a:t>самой неприметной детали формы</a:t>
            </a:r>
            <a:r>
              <a:rPr lang="ru-RU" sz="2000" dirty="0"/>
              <a:t>, которая лишь косвенно связана с вопросом</a:t>
            </a:r>
            <a:r>
              <a:rPr lang="ru-RU" sz="2000" dirty="0" smtClean="0"/>
              <a:t>;</a:t>
            </a:r>
          </a:p>
          <a:p>
            <a:pPr algn="just"/>
            <a:endParaRPr lang="ru-RU" sz="2000" dirty="0"/>
          </a:p>
          <a:p>
            <a:pPr algn="just"/>
            <a:r>
              <a:rPr lang="ru-RU" sz="2000" dirty="0"/>
              <a:t>•	полное и подробное понимание </a:t>
            </a:r>
            <a:r>
              <a:rPr lang="ru-RU" sz="2000" b="1" dirty="0">
                <a:solidFill>
                  <a:srgbClr val="FF0000"/>
                </a:solidFill>
              </a:rPr>
              <a:t>нескольких текстов </a:t>
            </a:r>
            <a:r>
              <a:rPr lang="ru-RU" sz="2000" dirty="0"/>
              <a:t>и связей между ними,  </a:t>
            </a:r>
            <a:endParaRPr lang="ru-RU" sz="2000" dirty="0" smtClean="0"/>
          </a:p>
          <a:p>
            <a:pPr algn="just"/>
            <a:endParaRPr lang="ru-RU" sz="2000" dirty="0"/>
          </a:p>
          <a:p>
            <a:pPr algn="just"/>
            <a:r>
              <a:rPr lang="ru-RU" sz="2000" dirty="0"/>
              <a:t>•	</a:t>
            </a:r>
            <a:r>
              <a:rPr lang="ru-RU" sz="2000" b="1" dirty="0">
                <a:solidFill>
                  <a:srgbClr val="FF0000"/>
                </a:solidFill>
              </a:rPr>
              <a:t>понимание незнакомых идей</a:t>
            </a:r>
            <a:r>
              <a:rPr lang="ru-RU" sz="2000" dirty="0"/>
              <a:t>, выраженных в тексте или текстах, содержащих противоречивую информацию</a:t>
            </a:r>
            <a:r>
              <a:rPr lang="ru-RU" sz="2000" dirty="0" smtClean="0"/>
              <a:t>;</a:t>
            </a:r>
          </a:p>
          <a:p>
            <a:pPr algn="just"/>
            <a:endParaRPr lang="ru-RU" sz="2000" dirty="0"/>
          </a:p>
          <a:p>
            <a:pPr algn="just"/>
            <a:r>
              <a:rPr lang="ru-RU" sz="2000" dirty="0"/>
              <a:t>•	самостоятельное построение </a:t>
            </a:r>
            <a:r>
              <a:rPr lang="ru-RU" sz="2000" b="1" dirty="0">
                <a:solidFill>
                  <a:srgbClr val="FF0000"/>
                </a:solidFill>
              </a:rPr>
              <a:t>абстрактных</a:t>
            </a:r>
            <a:r>
              <a:rPr lang="ru-RU" sz="2000" dirty="0"/>
              <a:t> понятий;</a:t>
            </a:r>
          </a:p>
          <a:p>
            <a:pPr algn="just"/>
            <a:r>
              <a:rPr lang="ru-RU" sz="2000" dirty="0"/>
              <a:t>•	привлечение фоновых, в том числе </a:t>
            </a:r>
            <a:r>
              <a:rPr lang="ru-RU" sz="2000" b="1" dirty="0">
                <a:solidFill>
                  <a:srgbClr val="FF0000"/>
                </a:solidFill>
              </a:rPr>
              <a:t>академических знаний</a:t>
            </a:r>
            <a:r>
              <a:rPr lang="ru-RU" sz="2000" dirty="0"/>
              <a:t>;</a:t>
            </a:r>
          </a:p>
          <a:p>
            <a:pPr algn="just"/>
            <a:r>
              <a:rPr lang="ru-RU" sz="2000" dirty="0"/>
              <a:t>•	способность давать </a:t>
            </a:r>
            <a:r>
              <a:rPr lang="ru-RU" sz="2000" b="1" dirty="0">
                <a:solidFill>
                  <a:srgbClr val="FF0000"/>
                </a:solidFill>
              </a:rPr>
              <a:t>критическую оценку </a:t>
            </a:r>
            <a:r>
              <a:rPr lang="ru-RU" sz="2000" dirty="0"/>
              <a:t>сложному тексту на незнакомую тему; </a:t>
            </a:r>
          </a:p>
          <a:p>
            <a:pPr algn="just"/>
            <a:r>
              <a:rPr lang="ru-RU" sz="2000" dirty="0"/>
              <a:t>•	умение </a:t>
            </a:r>
            <a:r>
              <a:rPr lang="ru-RU" sz="2000" b="1" dirty="0">
                <a:solidFill>
                  <a:srgbClr val="FF0000"/>
                </a:solidFill>
              </a:rPr>
              <a:t>сравнивать</a:t>
            </a:r>
            <a:r>
              <a:rPr lang="ru-RU" sz="2000" dirty="0"/>
              <a:t> информацию из разных текстов, анализируя явные и скрытые цели авторов, оценивая качество и достоверность источников;</a:t>
            </a:r>
          </a:p>
          <a:p>
            <a:pPr algn="just"/>
            <a:r>
              <a:rPr lang="ru-RU" sz="2000" dirty="0"/>
              <a:t>•	умение выявлять </a:t>
            </a:r>
            <a:r>
              <a:rPr lang="ru-RU" sz="2000" b="1" dirty="0">
                <a:solidFill>
                  <a:srgbClr val="FF0000"/>
                </a:solidFill>
              </a:rPr>
              <a:t>расхождения и противоречия </a:t>
            </a:r>
            <a:r>
              <a:rPr lang="ru-RU" sz="2000" dirty="0"/>
              <a:t>между текстами, делать выводы и выдвигать </a:t>
            </a:r>
            <a:r>
              <a:rPr lang="ru-RU" sz="2000" b="1" dirty="0">
                <a:solidFill>
                  <a:srgbClr val="FF0000"/>
                </a:solidFill>
              </a:rPr>
              <a:t>гипотезы</a:t>
            </a:r>
            <a:r>
              <a:rPr lang="ru-RU" sz="2000" dirty="0"/>
              <a:t> на основании прочитанного, опираясь одновременно на несколько критериев, соединяя разрозненную информацию и учитывая несколько точек зрения. 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699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=""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81" name="Слайд think-cell" r:id="rId5" imgW="360" imgH="360" progId="">
                  <p:embed/>
                </p:oleObj>
              </mc:Choice>
              <mc:Fallback>
                <p:oleObj name="Слайд think-cell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746788" y="122439"/>
            <a:ext cx="261109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Типы текста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9</a:t>
            </a:fld>
            <a:endParaRPr lang="ru-RU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051" y="6790921"/>
            <a:ext cx="12192000" cy="97559"/>
          </a:xfrm>
          <a:prstGeom prst="rect">
            <a:avLst/>
          </a:prstGeom>
        </p:spPr>
      </p:pic>
      <p:grpSp>
        <p:nvGrpSpPr>
          <p:cNvPr id="25" name="Группа 24"/>
          <p:cNvGrpSpPr/>
          <p:nvPr/>
        </p:nvGrpSpPr>
        <p:grpSpPr>
          <a:xfrm>
            <a:off x="240697" y="194745"/>
            <a:ext cx="1268960" cy="438775"/>
            <a:chOff x="254665" y="195486"/>
            <a:chExt cx="951720" cy="329081"/>
          </a:xfrm>
        </p:grpSpPr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xmlns="" id="{8EF519E2-E53C-4D9E-B400-08D67129D2A8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799" y="350101"/>
              <a:ext cx="362510" cy="20894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xmlns="" id="{EB5A74A1-76B1-403A-8FB8-3FBCC4A7FACA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696" y="350101"/>
              <a:ext cx="362510" cy="20894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xmlns="" id="{8141FBEA-CB09-4617-90BF-6E4515E5EADB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665" y="425320"/>
              <a:ext cx="82532" cy="77308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xmlns="" id="{48B219EA-8104-447D-9B8C-156A030698C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822" y="425320"/>
              <a:ext cx="56414" cy="77308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71F453EE-6CA0-49B2-BA17-C90BA53D698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3906" y="424275"/>
              <a:ext cx="76263" cy="7939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4B9A3C2E-DDB2-405E-8DC4-3D9B93F9F02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29" y="424275"/>
              <a:ext cx="69994" cy="7939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12">
              <a:extLst>
                <a:ext uri="{FF2B5EF4-FFF2-40B4-BE49-F238E27FC236}">
                  <a16:creationId xmlns:a16="http://schemas.microsoft.com/office/drawing/2014/main" xmlns="" id="{97B13DAB-6D92-4ADF-AEAD-3ABF38B5006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3595" y="425320"/>
              <a:ext cx="60593" cy="77308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13">
              <a:extLst>
                <a:ext uri="{FF2B5EF4-FFF2-40B4-BE49-F238E27FC236}">
                  <a16:creationId xmlns:a16="http://schemas.microsoft.com/office/drawing/2014/main" xmlns="" id="{997E18B7-E2E3-4FFE-A91F-0CD5422C7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81947" y="425320"/>
              <a:ext cx="56414" cy="77308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14">
              <a:extLst>
                <a:ext uri="{FF2B5EF4-FFF2-40B4-BE49-F238E27FC236}">
                  <a16:creationId xmlns:a16="http://schemas.microsoft.com/office/drawing/2014/main" xmlns="" id="{1900BEDA-4FCF-4C01-9C4F-53AF1517729E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31" y="425320"/>
              <a:ext cx="119096" cy="99247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15">
              <a:extLst>
                <a:ext uri="{FF2B5EF4-FFF2-40B4-BE49-F238E27FC236}">
                  <a16:creationId xmlns:a16="http://schemas.microsoft.com/office/drawing/2014/main" xmlns="" id="{B68FD14B-335C-4043-B8A7-A776E214B446}"/>
                </a:ext>
              </a:extLst>
            </p:cNvPr>
            <p:cNvSpPr>
              <a:spLocks/>
            </p:cNvSpPr>
            <p:nvPr/>
          </p:nvSpPr>
          <p:spPr bwMode="auto">
            <a:xfrm>
              <a:off x="884618" y="425320"/>
              <a:ext cx="57458" cy="77308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Freeform 16">
              <a:extLst>
                <a:ext uri="{FF2B5EF4-FFF2-40B4-BE49-F238E27FC236}">
                  <a16:creationId xmlns:a16="http://schemas.microsoft.com/office/drawing/2014/main" xmlns="" id="{A69810B2-AC0A-429F-BB37-B498DA7AF5C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747" y="425320"/>
              <a:ext cx="81486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Freeform 17">
              <a:extLst>
                <a:ext uri="{FF2B5EF4-FFF2-40B4-BE49-F238E27FC236}">
                  <a16:creationId xmlns:a16="http://schemas.microsoft.com/office/drawing/2014/main" xmlns="" id="{96FADF93-F429-4C9F-8507-C0DF6282E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52815" y="425320"/>
              <a:ext cx="82532" cy="77308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18">
              <a:extLst>
                <a:ext uri="{FF2B5EF4-FFF2-40B4-BE49-F238E27FC236}">
                  <a16:creationId xmlns:a16="http://schemas.microsoft.com/office/drawing/2014/main" xmlns="" id="{AF2E495F-4311-4EA5-A84C-17AC6D96A4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47882" y="425320"/>
              <a:ext cx="58503" cy="77308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19">
              <a:extLst>
                <a:ext uri="{FF2B5EF4-FFF2-40B4-BE49-F238E27FC236}">
                  <a16:creationId xmlns:a16="http://schemas.microsoft.com/office/drawing/2014/main" xmlns="" id="{0C91DDD9-5794-4274-B686-9E10A701744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785" y="195486"/>
              <a:ext cx="151481" cy="191180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D2B8D"/>
            </a:solidFill>
            <a:ln w="9525">
              <a:noFill/>
              <a:round/>
              <a:headEnd/>
              <a:tailEnd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>
            <a:off x="517194" y="1023582"/>
            <a:ext cx="11137994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 smtClean="0">
                <a:solidFill>
                  <a:srgbClr val="002060"/>
                </a:solidFill>
              </a:rPr>
              <a:t>рассуждение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 smtClean="0">
                <a:solidFill>
                  <a:srgbClr val="002060"/>
                </a:solidFill>
              </a:rPr>
              <a:t>описание</a:t>
            </a:r>
            <a:endParaRPr lang="ru-RU" sz="4000" b="1" dirty="0">
              <a:solidFill>
                <a:srgbClr val="002060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 smtClean="0">
                <a:solidFill>
                  <a:srgbClr val="002060"/>
                </a:solidFill>
              </a:rPr>
              <a:t>толкование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 smtClean="0">
                <a:solidFill>
                  <a:srgbClr val="002060"/>
                </a:solidFill>
              </a:rPr>
              <a:t>инструкция</a:t>
            </a:r>
            <a:endParaRPr lang="ru-RU" sz="4000" b="1" dirty="0">
              <a:solidFill>
                <a:srgbClr val="002060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 smtClean="0">
                <a:solidFill>
                  <a:srgbClr val="FF0000"/>
                </a:solidFill>
              </a:rPr>
              <a:t>множественный </a:t>
            </a:r>
            <a:r>
              <a:rPr lang="ru-RU" sz="4000" b="1" dirty="0">
                <a:solidFill>
                  <a:srgbClr val="FF0000"/>
                </a:solidFill>
              </a:rPr>
              <a:t>тип (31</a:t>
            </a:r>
            <a:r>
              <a:rPr lang="ru-RU" sz="4000" b="1" dirty="0" smtClean="0">
                <a:solidFill>
                  <a:srgbClr val="FF0000"/>
                </a:solidFill>
              </a:rPr>
              <a:t>%)</a:t>
            </a:r>
            <a:endParaRPr lang="ru-RU" sz="4000" b="1" dirty="0">
              <a:solidFill>
                <a:srgbClr val="FF0000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 smtClean="0">
                <a:solidFill>
                  <a:srgbClr val="002060"/>
                </a:solidFill>
              </a:rPr>
              <a:t>повествование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 smtClean="0">
                <a:solidFill>
                  <a:srgbClr val="002060"/>
                </a:solidFill>
              </a:rPr>
              <a:t>переговоры</a:t>
            </a:r>
            <a:endParaRPr lang="ru-RU" sz="4000" b="1" dirty="0">
              <a:solidFill>
                <a:srgbClr val="002060"/>
              </a:solidFill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ru-RU" sz="4000" b="1" dirty="0">
                <a:solidFill>
                  <a:srgbClr val="002060"/>
                </a:solidFill>
              </a:rPr>
              <a:t>обсуждение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E6838642-F192-40B3-9CE9-54140F0A90E1}"/>
              </a:ext>
            </a:extLst>
          </p:cNvPr>
          <p:cNvSpPr/>
          <p:nvPr/>
        </p:nvSpPr>
        <p:spPr>
          <a:xfrm>
            <a:off x="51172" y="6647295"/>
            <a:ext cx="12088483" cy="1077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700" dirty="0">
                <a:solidFill>
                  <a:schemeClr val="bg1">
                    <a:lumMod val="65000"/>
                  </a:schemeClr>
                </a:solidFill>
              </a:rPr>
              <a:t>© </a:t>
            </a:r>
            <a:r>
              <a:rPr lang="ru-RU" sz="700" dirty="0" smtClean="0">
                <a:solidFill>
                  <a:schemeClr val="bg1">
                    <a:lumMod val="65000"/>
                  </a:schemeClr>
                </a:solidFill>
              </a:rPr>
              <a:t>АО «Издательство «Просвещение» 2021</a:t>
            </a:r>
            <a:endParaRPr lang="ru-RU" sz="7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90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368</TotalTime>
  <Words>3760</Words>
  <Application>Microsoft Office PowerPoint</Application>
  <PresentationFormat>Произвольный</PresentationFormat>
  <Paragraphs>441</Paragraphs>
  <Slides>31</Slides>
  <Notes>28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1</vt:i4>
      </vt:variant>
    </vt:vector>
  </HeadingPairs>
  <TitlesOfParts>
    <vt:vector size="33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Пользователь Windows</cp:lastModifiedBy>
  <cp:revision>1008</cp:revision>
  <cp:lastPrinted>2019-08-02T09:06:22Z</cp:lastPrinted>
  <dcterms:created xsi:type="dcterms:W3CDTF">2018-07-24T05:59:49Z</dcterms:created>
  <dcterms:modified xsi:type="dcterms:W3CDTF">2021-01-21T07:25:50Z</dcterms:modified>
</cp:coreProperties>
</file>